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.xml" ContentType="application/vnd.openxmlformats-officedocument.presentationml.notesSlide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1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33" r:id="rId1"/>
  </p:sldMasterIdLst>
  <p:notesMasterIdLst>
    <p:notesMasterId r:id="rId31"/>
  </p:notesMasterIdLst>
  <p:sldIdLst>
    <p:sldId id="256" r:id="rId2"/>
    <p:sldId id="307" r:id="rId3"/>
    <p:sldId id="309" r:id="rId4"/>
    <p:sldId id="312" r:id="rId5"/>
    <p:sldId id="310" r:id="rId6"/>
    <p:sldId id="311" r:id="rId7"/>
    <p:sldId id="313" r:id="rId8"/>
    <p:sldId id="316" r:id="rId9"/>
    <p:sldId id="322" r:id="rId10"/>
    <p:sldId id="317" r:id="rId11"/>
    <p:sldId id="320" r:id="rId12"/>
    <p:sldId id="321" r:id="rId13"/>
    <p:sldId id="324" r:id="rId14"/>
    <p:sldId id="325" r:id="rId15"/>
    <p:sldId id="323" r:id="rId16"/>
    <p:sldId id="326" r:id="rId17"/>
    <p:sldId id="327" r:id="rId18"/>
    <p:sldId id="328" r:id="rId19"/>
    <p:sldId id="329" r:id="rId20"/>
    <p:sldId id="332" r:id="rId21"/>
    <p:sldId id="314" r:id="rId22"/>
    <p:sldId id="315" r:id="rId23"/>
    <p:sldId id="330" r:id="rId24"/>
    <p:sldId id="301" r:id="rId25"/>
    <p:sldId id="334" r:id="rId26"/>
    <p:sldId id="335" r:id="rId27"/>
    <p:sldId id="339" r:id="rId28"/>
    <p:sldId id="337" r:id="rId29"/>
    <p:sldId id="338" r:id="rId30"/>
  </p:sldIdLst>
  <p:sldSz cx="9144000" cy="6858000" type="screen4x3"/>
  <p:notesSz cx="6858000" cy="9144000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8040"/>
    <a:srgbClr val="27401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35" autoAdjust="0"/>
    <p:restoredTop sz="95082" autoAdjust="0"/>
  </p:normalViewPr>
  <p:slideViewPr>
    <p:cSldViewPr>
      <p:cViewPr varScale="1">
        <p:scale>
          <a:sx n="94" d="100"/>
          <a:sy n="94" d="100"/>
        </p:scale>
        <p:origin x="1792" y="1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BA/Excel/Sewage%20sludg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BA/Excel/V-BestimmungNEu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BA/Excel/V-BestimmungNEu.xlsx" TargetMode="Externa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alexandraerfort/Desktop/BA/Excel/Sewage%20sludge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BA/Excel/Sewage%20sludg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BA/Excel/Gu&#776;ll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BA/Excel/Gu&#776;ll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BA/Excel/Gu&#776;ll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alexandraerfort/Desktop/BA/Excel/OxiTop%20Ga&#776;rrest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alexandraerfort/Desktop/BA/Excel/OxiTop%20Ga&#776;rrest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alexandraerfort/Desktop/BA/Excel/OxiTop%20Ga&#776;rrest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parison of</a:t>
            </a:r>
            <a:r>
              <a:rPr lang="en-US" baseline="0" dirty="0"/>
              <a:t> Three Samples with Fresh  Sewage Sludge</a:t>
            </a:r>
            <a:endParaRPr lang="en-US" dirty="0"/>
          </a:p>
        </c:rich>
      </c:tx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smoothMarker"/>
        <c:varyColors val="0"/>
        <c:ser>
          <c:idx val="2"/>
          <c:order val="0"/>
          <c:tx>
            <c:v>1</c:v>
          </c:tx>
          <c:spPr>
            <a:ln w="3810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'01'!$E$20:$E$353</c:f>
              <c:numCache>
                <c:formatCode>0</c:formatCode>
                <c:ptCount val="334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</c:numCache>
            </c:numRef>
          </c:xVal>
          <c:yVal>
            <c:numRef>
              <c:f>'01'!$D$20:$D$353</c:f>
              <c:numCache>
                <c:formatCode>General</c:formatCode>
                <c:ptCount val="334"/>
                <c:pt idx="0">
                  <c:v>0</c:v>
                </c:pt>
                <c:pt idx="1">
                  <c:v>69</c:v>
                </c:pt>
                <c:pt idx="2">
                  <c:v>96</c:v>
                </c:pt>
                <c:pt idx="3">
                  <c:v>116</c:v>
                </c:pt>
                <c:pt idx="4">
                  <c:v>133</c:v>
                </c:pt>
                <c:pt idx="5">
                  <c:v>146</c:v>
                </c:pt>
                <c:pt idx="6">
                  <c:v>158</c:v>
                </c:pt>
                <c:pt idx="7">
                  <c:v>166</c:v>
                </c:pt>
                <c:pt idx="8">
                  <c:v>175</c:v>
                </c:pt>
                <c:pt idx="9">
                  <c:v>183</c:v>
                </c:pt>
                <c:pt idx="10">
                  <c:v>189</c:v>
                </c:pt>
                <c:pt idx="11">
                  <c:v>195</c:v>
                </c:pt>
                <c:pt idx="12">
                  <c:v>201</c:v>
                </c:pt>
                <c:pt idx="13">
                  <c:v>206</c:v>
                </c:pt>
                <c:pt idx="14">
                  <c:v>211</c:v>
                </c:pt>
                <c:pt idx="15">
                  <c:v>217</c:v>
                </c:pt>
                <c:pt idx="16">
                  <c:v>222</c:v>
                </c:pt>
                <c:pt idx="17">
                  <c:v>227</c:v>
                </c:pt>
                <c:pt idx="18">
                  <c:v>232</c:v>
                </c:pt>
                <c:pt idx="19">
                  <c:v>238</c:v>
                </c:pt>
                <c:pt idx="20">
                  <c:v>244</c:v>
                </c:pt>
                <c:pt idx="21">
                  <c:v>249</c:v>
                </c:pt>
                <c:pt idx="22">
                  <c:v>217</c:v>
                </c:pt>
                <c:pt idx="23">
                  <c:v>224</c:v>
                </c:pt>
                <c:pt idx="24">
                  <c:v>252</c:v>
                </c:pt>
                <c:pt idx="25">
                  <c:v>265</c:v>
                </c:pt>
                <c:pt idx="26">
                  <c:v>273</c:v>
                </c:pt>
                <c:pt idx="27">
                  <c:v>280</c:v>
                </c:pt>
                <c:pt idx="28">
                  <c:v>286</c:v>
                </c:pt>
                <c:pt idx="29">
                  <c:v>291</c:v>
                </c:pt>
                <c:pt idx="30">
                  <c:v>296</c:v>
                </c:pt>
                <c:pt idx="31">
                  <c:v>301</c:v>
                </c:pt>
                <c:pt idx="32">
                  <c:v>305</c:v>
                </c:pt>
                <c:pt idx="33">
                  <c:v>309</c:v>
                </c:pt>
                <c:pt idx="34">
                  <c:v>313</c:v>
                </c:pt>
                <c:pt idx="35">
                  <c:v>317</c:v>
                </c:pt>
                <c:pt idx="36">
                  <c:v>320</c:v>
                </c:pt>
                <c:pt idx="37">
                  <c:v>323</c:v>
                </c:pt>
                <c:pt idx="38">
                  <c:v>326</c:v>
                </c:pt>
                <c:pt idx="39">
                  <c:v>329</c:v>
                </c:pt>
                <c:pt idx="40">
                  <c:v>332</c:v>
                </c:pt>
                <c:pt idx="41">
                  <c:v>335</c:v>
                </c:pt>
                <c:pt idx="42">
                  <c:v>334</c:v>
                </c:pt>
                <c:pt idx="43">
                  <c:v>338</c:v>
                </c:pt>
                <c:pt idx="44">
                  <c:v>352</c:v>
                </c:pt>
                <c:pt idx="45">
                  <c:v>363</c:v>
                </c:pt>
                <c:pt idx="46">
                  <c:v>373</c:v>
                </c:pt>
                <c:pt idx="47">
                  <c:v>382</c:v>
                </c:pt>
                <c:pt idx="48">
                  <c:v>388</c:v>
                </c:pt>
                <c:pt idx="49">
                  <c:v>392</c:v>
                </c:pt>
                <c:pt idx="50">
                  <c:v>406</c:v>
                </c:pt>
                <c:pt idx="51">
                  <c:v>414</c:v>
                </c:pt>
                <c:pt idx="52">
                  <c:v>422</c:v>
                </c:pt>
                <c:pt idx="53">
                  <c:v>429</c:v>
                </c:pt>
                <c:pt idx="54">
                  <c:v>435</c:v>
                </c:pt>
                <c:pt idx="55">
                  <c:v>440</c:v>
                </c:pt>
                <c:pt idx="56">
                  <c:v>446</c:v>
                </c:pt>
                <c:pt idx="57">
                  <c:v>451</c:v>
                </c:pt>
                <c:pt idx="58">
                  <c:v>456</c:v>
                </c:pt>
                <c:pt idx="59">
                  <c:v>460</c:v>
                </c:pt>
                <c:pt idx="60">
                  <c:v>465</c:v>
                </c:pt>
                <c:pt idx="61">
                  <c:v>468</c:v>
                </c:pt>
                <c:pt idx="62">
                  <c:v>471</c:v>
                </c:pt>
                <c:pt idx="63">
                  <c:v>475</c:v>
                </c:pt>
                <c:pt idx="64">
                  <c:v>472</c:v>
                </c:pt>
                <c:pt idx="65">
                  <c:v>477</c:v>
                </c:pt>
                <c:pt idx="66">
                  <c:v>483</c:v>
                </c:pt>
                <c:pt idx="67">
                  <c:v>488</c:v>
                </c:pt>
                <c:pt idx="68">
                  <c:v>493</c:v>
                </c:pt>
                <c:pt idx="69">
                  <c:v>498</c:v>
                </c:pt>
                <c:pt idx="70">
                  <c:v>504</c:v>
                </c:pt>
                <c:pt idx="71">
                  <c:v>506</c:v>
                </c:pt>
                <c:pt idx="72">
                  <c:v>515</c:v>
                </c:pt>
                <c:pt idx="73">
                  <c:v>520</c:v>
                </c:pt>
                <c:pt idx="74">
                  <c:v>524</c:v>
                </c:pt>
                <c:pt idx="75">
                  <c:v>527</c:v>
                </c:pt>
                <c:pt idx="76">
                  <c:v>529</c:v>
                </c:pt>
                <c:pt idx="77">
                  <c:v>532</c:v>
                </c:pt>
                <c:pt idx="78">
                  <c:v>534</c:v>
                </c:pt>
                <c:pt idx="79">
                  <c:v>535</c:v>
                </c:pt>
                <c:pt idx="80">
                  <c:v>537</c:v>
                </c:pt>
                <c:pt idx="81">
                  <c:v>539</c:v>
                </c:pt>
                <c:pt idx="82">
                  <c:v>541</c:v>
                </c:pt>
                <c:pt idx="83">
                  <c:v>543</c:v>
                </c:pt>
                <c:pt idx="84">
                  <c:v>544</c:v>
                </c:pt>
                <c:pt idx="85">
                  <c:v>546</c:v>
                </c:pt>
                <c:pt idx="86">
                  <c:v>548</c:v>
                </c:pt>
                <c:pt idx="87">
                  <c:v>549</c:v>
                </c:pt>
                <c:pt idx="88">
                  <c:v>551</c:v>
                </c:pt>
                <c:pt idx="89">
                  <c:v>553</c:v>
                </c:pt>
                <c:pt idx="90">
                  <c:v>556</c:v>
                </c:pt>
                <c:pt idx="91">
                  <c:v>560</c:v>
                </c:pt>
                <c:pt idx="92">
                  <c:v>553</c:v>
                </c:pt>
                <c:pt idx="93">
                  <c:v>560</c:v>
                </c:pt>
                <c:pt idx="94">
                  <c:v>565</c:v>
                </c:pt>
                <c:pt idx="95">
                  <c:v>570</c:v>
                </c:pt>
                <c:pt idx="96">
                  <c:v>572</c:v>
                </c:pt>
                <c:pt idx="97">
                  <c:v>577</c:v>
                </c:pt>
                <c:pt idx="98">
                  <c:v>582</c:v>
                </c:pt>
                <c:pt idx="99">
                  <c:v>587</c:v>
                </c:pt>
                <c:pt idx="100">
                  <c:v>590</c:v>
                </c:pt>
                <c:pt idx="101">
                  <c:v>594</c:v>
                </c:pt>
                <c:pt idx="102">
                  <c:v>597</c:v>
                </c:pt>
                <c:pt idx="103">
                  <c:v>600</c:v>
                </c:pt>
                <c:pt idx="104">
                  <c:v>603</c:v>
                </c:pt>
                <c:pt idx="105">
                  <c:v>605</c:v>
                </c:pt>
                <c:pt idx="106">
                  <c:v>607</c:v>
                </c:pt>
                <c:pt idx="107">
                  <c:v>609</c:v>
                </c:pt>
                <c:pt idx="108">
                  <c:v>610</c:v>
                </c:pt>
                <c:pt idx="109">
                  <c:v>612</c:v>
                </c:pt>
                <c:pt idx="110">
                  <c:v>613</c:v>
                </c:pt>
                <c:pt idx="111">
                  <c:v>614</c:v>
                </c:pt>
                <c:pt idx="112">
                  <c:v>616</c:v>
                </c:pt>
                <c:pt idx="113">
                  <c:v>618</c:v>
                </c:pt>
                <c:pt idx="114">
                  <c:v>620</c:v>
                </c:pt>
                <c:pt idx="115">
                  <c:v>623</c:v>
                </c:pt>
                <c:pt idx="116">
                  <c:v>626</c:v>
                </c:pt>
                <c:pt idx="117">
                  <c:v>629</c:v>
                </c:pt>
                <c:pt idx="118">
                  <c:v>632</c:v>
                </c:pt>
                <c:pt idx="119">
                  <c:v>635</c:v>
                </c:pt>
                <c:pt idx="120">
                  <c:v>639</c:v>
                </c:pt>
                <c:pt idx="121">
                  <c:v>643</c:v>
                </c:pt>
                <c:pt idx="122">
                  <c:v>645</c:v>
                </c:pt>
                <c:pt idx="123">
                  <c:v>647</c:v>
                </c:pt>
                <c:pt idx="124">
                  <c:v>648</c:v>
                </c:pt>
                <c:pt idx="125">
                  <c:v>648</c:v>
                </c:pt>
                <c:pt idx="126">
                  <c:v>649</c:v>
                </c:pt>
                <c:pt idx="127">
                  <c:v>650</c:v>
                </c:pt>
                <c:pt idx="128">
                  <c:v>651</c:v>
                </c:pt>
                <c:pt idx="129">
                  <c:v>652</c:v>
                </c:pt>
                <c:pt idx="130">
                  <c:v>653</c:v>
                </c:pt>
                <c:pt idx="131">
                  <c:v>654</c:v>
                </c:pt>
                <c:pt idx="132">
                  <c:v>655</c:v>
                </c:pt>
                <c:pt idx="133">
                  <c:v>656</c:v>
                </c:pt>
                <c:pt idx="134">
                  <c:v>657</c:v>
                </c:pt>
                <c:pt idx="135">
                  <c:v>658</c:v>
                </c:pt>
                <c:pt idx="136">
                  <c:v>659</c:v>
                </c:pt>
                <c:pt idx="137">
                  <c:v>661</c:v>
                </c:pt>
                <c:pt idx="138">
                  <c:v>663</c:v>
                </c:pt>
                <c:pt idx="139">
                  <c:v>665</c:v>
                </c:pt>
                <c:pt idx="140">
                  <c:v>667</c:v>
                </c:pt>
                <c:pt idx="141">
                  <c:v>671</c:v>
                </c:pt>
                <c:pt idx="142">
                  <c:v>674</c:v>
                </c:pt>
                <c:pt idx="143">
                  <c:v>679</c:v>
                </c:pt>
                <c:pt idx="144">
                  <c:v>684</c:v>
                </c:pt>
                <c:pt idx="145">
                  <c:v>689</c:v>
                </c:pt>
                <c:pt idx="146">
                  <c:v>693</c:v>
                </c:pt>
                <c:pt idx="147">
                  <c:v>694</c:v>
                </c:pt>
                <c:pt idx="148">
                  <c:v>696</c:v>
                </c:pt>
                <c:pt idx="149">
                  <c:v>696</c:v>
                </c:pt>
                <c:pt idx="150">
                  <c:v>697</c:v>
                </c:pt>
                <c:pt idx="151">
                  <c:v>698</c:v>
                </c:pt>
                <c:pt idx="152">
                  <c:v>699</c:v>
                </c:pt>
                <c:pt idx="153">
                  <c:v>699</c:v>
                </c:pt>
                <c:pt idx="154">
                  <c:v>701</c:v>
                </c:pt>
                <c:pt idx="155">
                  <c:v>701</c:v>
                </c:pt>
                <c:pt idx="156">
                  <c:v>703</c:v>
                </c:pt>
                <c:pt idx="157">
                  <c:v>704</c:v>
                </c:pt>
                <c:pt idx="158">
                  <c:v>704</c:v>
                </c:pt>
                <c:pt idx="159">
                  <c:v>705</c:v>
                </c:pt>
                <c:pt idx="160">
                  <c:v>707</c:v>
                </c:pt>
                <c:pt idx="161">
                  <c:v>708</c:v>
                </c:pt>
                <c:pt idx="162">
                  <c:v>710</c:v>
                </c:pt>
                <c:pt idx="163">
                  <c:v>713</c:v>
                </c:pt>
                <c:pt idx="164">
                  <c:v>715</c:v>
                </c:pt>
                <c:pt idx="165">
                  <c:v>718</c:v>
                </c:pt>
                <c:pt idx="166">
                  <c:v>733</c:v>
                </c:pt>
                <c:pt idx="167">
                  <c:v>737</c:v>
                </c:pt>
                <c:pt idx="168">
                  <c:v>740</c:v>
                </c:pt>
                <c:pt idx="169">
                  <c:v>743</c:v>
                </c:pt>
                <c:pt idx="170">
                  <c:v>745</c:v>
                </c:pt>
                <c:pt idx="171">
                  <c:v>746</c:v>
                </c:pt>
                <c:pt idx="172">
                  <c:v>747</c:v>
                </c:pt>
                <c:pt idx="173">
                  <c:v>747</c:v>
                </c:pt>
                <c:pt idx="174">
                  <c:v>747</c:v>
                </c:pt>
                <c:pt idx="175">
                  <c:v>747</c:v>
                </c:pt>
                <c:pt idx="176">
                  <c:v>748</c:v>
                </c:pt>
                <c:pt idx="177">
                  <c:v>748</c:v>
                </c:pt>
                <c:pt idx="178">
                  <c:v>748</c:v>
                </c:pt>
                <c:pt idx="179">
                  <c:v>749</c:v>
                </c:pt>
                <c:pt idx="180">
                  <c:v>749</c:v>
                </c:pt>
                <c:pt idx="181">
                  <c:v>750</c:v>
                </c:pt>
                <c:pt idx="182">
                  <c:v>751</c:v>
                </c:pt>
                <c:pt idx="183">
                  <c:v>751</c:v>
                </c:pt>
                <c:pt idx="184">
                  <c:v>753</c:v>
                </c:pt>
                <c:pt idx="185">
                  <c:v>753</c:v>
                </c:pt>
                <c:pt idx="186">
                  <c:v>755</c:v>
                </c:pt>
                <c:pt idx="187">
                  <c:v>756</c:v>
                </c:pt>
                <c:pt idx="188">
                  <c:v>758</c:v>
                </c:pt>
                <c:pt idx="189">
                  <c:v>760</c:v>
                </c:pt>
                <c:pt idx="190">
                  <c:v>763</c:v>
                </c:pt>
                <c:pt idx="191">
                  <c:v>765</c:v>
                </c:pt>
                <c:pt idx="192">
                  <c:v>767</c:v>
                </c:pt>
                <c:pt idx="193">
                  <c:v>770</c:v>
                </c:pt>
                <c:pt idx="194">
                  <c:v>772</c:v>
                </c:pt>
                <c:pt idx="195">
                  <c:v>772</c:v>
                </c:pt>
                <c:pt idx="196">
                  <c:v>772</c:v>
                </c:pt>
                <c:pt idx="197">
                  <c:v>772</c:v>
                </c:pt>
                <c:pt idx="198">
                  <c:v>772</c:v>
                </c:pt>
                <c:pt idx="199">
                  <c:v>772</c:v>
                </c:pt>
                <c:pt idx="200">
                  <c:v>773</c:v>
                </c:pt>
                <c:pt idx="201">
                  <c:v>773</c:v>
                </c:pt>
                <c:pt idx="202">
                  <c:v>773</c:v>
                </c:pt>
                <c:pt idx="203">
                  <c:v>774</c:v>
                </c:pt>
                <c:pt idx="204">
                  <c:v>773</c:v>
                </c:pt>
                <c:pt idx="205">
                  <c:v>774</c:v>
                </c:pt>
                <c:pt idx="206">
                  <c:v>775</c:v>
                </c:pt>
                <c:pt idx="207">
                  <c:v>775</c:v>
                </c:pt>
                <c:pt idx="208">
                  <c:v>775</c:v>
                </c:pt>
                <c:pt idx="209">
                  <c:v>776</c:v>
                </c:pt>
                <c:pt idx="210">
                  <c:v>778</c:v>
                </c:pt>
                <c:pt idx="211">
                  <c:v>780</c:v>
                </c:pt>
                <c:pt idx="212">
                  <c:v>782</c:v>
                </c:pt>
                <c:pt idx="213">
                  <c:v>783</c:v>
                </c:pt>
                <c:pt idx="214">
                  <c:v>785</c:v>
                </c:pt>
                <c:pt idx="215">
                  <c:v>787</c:v>
                </c:pt>
                <c:pt idx="216">
                  <c:v>787</c:v>
                </c:pt>
                <c:pt idx="217">
                  <c:v>790</c:v>
                </c:pt>
                <c:pt idx="218">
                  <c:v>792</c:v>
                </c:pt>
                <c:pt idx="219">
                  <c:v>793</c:v>
                </c:pt>
                <c:pt idx="220">
                  <c:v>795</c:v>
                </c:pt>
                <c:pt idx="221">
                  <c:v>795</c:v>
                </c:pt>
                <c:pt idx="222">
                  <c:v>796</c:v>
                </c:pt>
                <c:pt idx="223">
                  <c:v>797</c:v>
                </c:pt>
                <c:pt idx="224">
                  <c:v>798</c:v>
                </c:pt>
                <c:pt idx="225">
                  <c:v>798</c:v>
                </c:pt>
                <c:pt idx="226">
                  <c:v>799</c:v>
                </c:pt>
                <c:pt idx="227">
                  <c:v>800</c:v>
                </c:pt>
                <c:pt idx="228">
                  <c:v>801</c:v>
                </c:pt>
                <c:pt idx="229">
                  <c:v>801</c:v>
                </c:pt>
                <c:pt idx="230">
                  <c:v>802</c:v>
                </c:pt>
                <c:pt idx="231">
                  <c:v>803</c:v>
                </c:pt>
                <c:pt idx="232">
                  <c:v>804</c:v>
                </c:pt>
                <c:pt idx="233">
                  <c:v>805</c:v>
                </c:pt>
                <c:pt idx="234">
                  <c:v>807</c:v>
                </c:pt>
                <c:pt idx="235">
                  <c:v>811</c:v>
                </c:pt>
                <c:pt idx="236">
                  <c:v>816</c:v>
                </c:pt>
                <c:pt idx="237">
                  <c:v>820</c:v>
                </c:pt>
                <c:pt idx="238">
                  <c:v>824</c:v>
                </c:pt>
                <c:pt idx="239">
                  <c:v>827</c:v>
                </c:pt>
                <c:pt idx="240">
                  <c:v>831</c:v>
                </c:pt>
                <c:pt idx="241">
                  <c:v>835</c:v>
                </c:pt>
                <c:pt idx="242">
                  <c:v>837</c:v>
                </c:pt>
                <c:pt idx="243">
                  <c:v>837</c:v>
                </c:pt>
                <c:pt idx="244">
                  <c:v>837</c:v>
                </c:pt>
                <c:pt idx="245">
                  <c:v>838</c:v>
                </c:pt>
                <c:pt idx="246">
                  <c:v>837</c:v>
                </c:pt>
                <c:pt idx="247">
                  <c:v>838</c:v>
                </c:pt>
                <c:pt idx="248">
                  <c:v>838</c:v>
                </c:pt>
                <c:pt idx="249">
                  <c:v>838</c:v>
                </c:pt>
                <c:pt idx="250">
                  <c:v>838</c:v>
                </c:pt>
                <c:pt idx="251">
                  <c:v>838</c:v>
                </c:pt>
                <c:pt idx="252">
                  <c:v>839</c:v>
                </c:pt>
                <c:pt idx="253">
                  <c:v>839</c:v>
                </c:pt>
                <c:pt idx="254">
                  <c:v>840</c:v>
                </c:pt>
                <c:pt idx="255">
                  <c:v>840</c:v>
                </c:pt>
                <c:pt idx="256">
                  <c:v>842</c:v>
                </c:pt>
                <c:pt idx="257">
                  <c:v>842</c:v>
                </c:pt>
                <c:pt idx="258">
                  <c:v>841</c:v>
                </c:pt>
                <c:pt idx="259">
                  <c:v>840</c:v>
                </c:pt>
                <c:pt idx="260">
                  <c:v>839</c:v>
                </c:pt>
                <c:pt idx="261">
                  <c:v>841</c:v>
                </c:pt>
                <c:pt idx="262">
                  <c:v>844</c:v>
                </c:pt>
                <c:pt idx="263">
                  <c:v>845</c:v>
                </c:pt>
                <c:pt idx="264">
                  <c:v>846</c:v>
                </c:pt>
                <c:pt idx="265">
                  <c:v>844</c:v>
                </c:pt>
                <c:pt idx="266">
                  <c:v>873</c:v>
                </c:pt>
                <c:pt idx="267">
                  <c:v>877</c:v>
                </c:pt>
                <c:pt idx="268">
                  <c:v>879</c:v>
                </c:pt>
                <c:pt idx="269">
                  <c:v>881</c:v>
                </c:pt>
                <c:pt idx="270">
                  <c:v>881</c:v>
                </c:pt>
                <c:pt idx="271">
                  <c:v>881</c:v>
                </c:pt>
                <c:pt idx="272">
                  <c:v>882</c:v>
                </c:pt>
                <c:pt idx="273">
                  <c:v>882</c:v>
                </c:pt>
                <c:pt idx="274">
                  <c:v>883</c:v>
                </c:pt>
                <c:pt idx="275">
                  <c:v>883</c:v>
                </c:pt>
                <c:pt idx="276">
                  <c:v>883</c:v>
                </c:pt>
                <c:pt idx="277">
                  <c:v>883</c:v>
                </c:pt>
                <c:pt idx="278">
                  <c:v>883</c:v>
                </c:pt>
                <c:pt idx="279">
                  <c:v>884</c:v>
                </c:pt>
                <c:pt idx="280">
                  <c:v>885</c:v>
                </c:pt>
                <c:pt idx="281">
                  <c:v>886</c:v>
                </c:pt>
                <c:pt idx="282">
                  <c:v>887</c:v>
                </c:pt>
                <c:pt idx="283">
                  <c:v>889</c:v>
                </c:pt>
                <c:pt idx="284">
                  <c:v>891</c:v>
                </c:pt>
                <c:pt idx="285">
                  <c:v>892</c:v>
                </c:pt>
                <c:pt idx="286">
                  <c:v>894</c:v>
                </c:pt>
                <c:pt idx="287">
                  <c:v>897</c:v>
                </c:pt>
                <c:pt idx="288">
                  <c:v>899</c:v>
                </c:pt>
                <c:pt idx="289">
                  <c:v>903</c:v>
                </c:pt>
                <c:pt idx="290">
                  <c:v>904</c:v>
                </c:pt>
                <c:pt idx="291">
                  <c:v>906</c:v>
                </c:pt>
                <c:pt idx="292">
                  <c:v>907</c:v>
                </c:pt>
                <c:pt idx="293">
                  <c:v>907</c:v>
                </c:pt>
                <c:pt idx="294">
                  <c:v>906</c:v>
                </c:pt>
                <c:pt idx="295">
                  <c:v>907</c:v>
                </c:pt>
                <c:pt idx="296">
                  <c:v>907</c:v>
                </c:pt>
                <c:pt idx="297">
                  <c:v>907</c:v>
                </c:pt>
                <c:pt idx="298">
                  <c:v>907</c:v>
                </c:pt>
                <c:pt idx="299">
                  <c:v>907</c:v>
                </c:pt>
                <c:pt idx="300">
                  <c:v>907</c:v>
                </c:pt>
                <c:pt idx="301">
                  <c:v>907</c:v>
                </c:pt>
                <c:pt idx="302">
                  <c:v>907</c:v>
                </c:pt>
                <c:pt idx="303">
                  <c:v>908</c:v>
                </c:pt>
                <c:pt idx="304">
                  <c:v>908</c:v>
                </c:pt>
                <c:pt idx="305">
                  <c:v>909</c:v>
                </c:pt>
                <c:pt idx="306">
                  <c:v>911</c:v>
                </c:pt>
                <c:pt idx="307">
                  <c:v>912</c:v>
                </c:pt>
                <c:pt idx="308">
                  <c:v>914</c:v>
                </c:pt>
                <c:pt idx="309">
                  <c:v>916</c:v>
                </c:pt>
                <c:pt idx="310">
                  <c:v>918</c:v>
                </c:pt>
                <c:pt idx="311">
                  <c:v>921</c:v>
                </c:pt>
                <c:pt idx="312">
                  <c:v>923</c:v>
                </c:pt>
                <c:pt idx="313">
                  <c:v>927</c:v>
                </c:pt>
                <c:pt idx="314">
                  <c:v>928</c:v>
                </c:pt>
                <c:pt idx="315">
                  <c:v>928</c:v>
                </c:pt>
                <c:pt idx="316">
                  <c:v>929</c:v>
                </c:pt>
                <c:pt idx="317">
                  <c:v>928</c:v>
                </c:pt>
                <c:pt idx="318">
                  <c:v>928</c:v>
                </c:pt>
                <c:pt idx="319">
                  <c:v>927</c:v>
                </c:pt>
                <c:pt idx="320">
                  <c:v>927</c:v>
                </c:pt>
                <c:pt idx="321">
                  <c:v>927</c:v>
                </c:pt>
                <c:pt idx="322">
                  <c:v>926</c:v>
                </c:pt>
                <c:pt idx="323">
                  <c:v>926</c:v>
                </c:pt>
                <c:pt idx="324">
                  <c:v>926</c:v>
                </c:pt>
                <c:pt idx="325">
                  <c:v>926</c:v>
                </c:pt>
                <c:pt idx="326">
                  <c:v>926</c:v>
                </c:pt>
                <c:pt idx="327">
                  <c:v>926</c:v>
                </c:pt>
                <c:pt idx="328">
                  <c:v>926</c:v>
                </c:pt>
                <c:pt idx="329">
                  <c:v>924</c:v>
                </c:pt>
                <c:pt idx="330">
                  <c:v>925</c:v>
                </c:pt>
                <c:pt idx="331">
                  <c:v>927</c:v>
                </c:pt>
                <c:pt idx="332">
                  <c:v>928</c:v>
                </c:pt>
                <c:pt idx="333">
                  <c:v>93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228B-694F-B280-C1AC79C597B4}"/>
            </c:ext>
          </c:extLst>
        </c:ser>
        <c:ser>
          <c:idx val="0"/>
          <c:order val="1"/>
          <c:tx>
            <c:v>2</c:v>
          </c:tx>
          <c:spPr>
            <a:ln w="38100" cap="rnd" cmpd="sng" algn="ctr">
              <a:solidFill>
                <a:srgbClr val="FF0000"/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'02'!$E$20:$E$353</c:f>
              <c:numCache>
                <c:formatCode>0</c:formatCode>
                <c:ptCount val="334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</c:numCache>
            </c:numRef>
          </c:xVal>
          <c:yVal>
            <c:numRef>
              <c:f>'02'!$D$20:$D$353</c:f>
              <c:numCache>
                <c:formatCode>General</c:formatCode>
                <c:ptCount val="334"/>
                <c:pt idx="0">
                  <c:v>0</c:v>
                </c:pt>
                <c:pt idx="1">
                  <c:v>51</c:v>
                </c:pt>
                <c:pt idx="2">
                  <c:v>75</c:v>
                </c:pt>
                <c:pt idx="3">
                  <c:v>93</c:v>
                </c:pt>
                <c:pt idx="4">
                  <c:v>107</c:v>
                </c:pt>
                <c:pt idx="5">
                  <c:v>118</c:v>
                </c:pt>
                <c:pt idx="6">
                  <c:v>126</c:v>
                </c:pt>
                <c:pt idx="7">
                  <c:v>131</c:v>
                </c:pt>
                <c:pt idx="8">
                  <c:v>136</c:v>
                </c:pt>
                <c:pt idx="9">
                  <c:v>139</c:v>
                </c:pt>
                <c:pt idx="10">
                  <c:v>142</c:v>
                </c:pt>
                <c:pt idx="11">
                  <c:v>144</c:v>
                </c:pt>
                <c:pt idx="12">
                  <c:v>145</c:v>
                </c:pt>
                <c:pt idx="13">
                  <c:v>146</c:v>
                </c:pt>
                <c:pt idx="14">
                  <c:v>147</c:v>
                </c:pt>
                <c:pt idx="15">
                  <c:v>148</c:v>
                </c:pt>
                <c:pt idx="16">
                  <c:v>149</c:v>
                </c:pt>
                <c:pt idx="17">
                  <c:v>151</c:v>
                </c:pt>
                <c:pt idx="18">
                  <c:v>152</c:v>
                </c:pt>
                <c:pt idx="19">
                  <c:v>154</c:v>
                </c:pt>
                <c:pt idx="20">
                  <c:v>156</c:v>
                </c:pt>
                <c:pt idx="21">
                  <c:v>157</c:v>
                </c:pt>
                <c:pt idx="22">
                  <c:v>139</c:v>
                </c:pt>
                <c:pt idx="23">
                  <c:v>126</c:v>
                </c:pt>
                <c:pt idx="24">
                  <c:v>146</c:v>
                </c:pt>
                <c:pt idx="25">
                  <c:v>156</c:v>
                </c:pt>
                <c:pt idx="26">
                  <c:v>163</c:v>
                </c:pt>
                <c:pt idx="27">
                  <c:v>169</c:v>
                </c:pt>
                <c:pt idx="28">
                  <c:v>175</c:v>
                </c:pt>
                <c:pt idx="29">
                  <c:v>180</c:v>
                </c:pt>
                <c:pt idx="30">
                  <c:v>184</c:v>
                </c:pt>
                <c:pt idx="31">
                  <c:v>188</c:v>
                </c:pt>
                <c:pt idx="32">
                  <c:v>191</c:v>
                </c:pt>
                <c:pt idx="33">
                  <c:v>194</c:v>
                </c:pt>
                <c:pt idx="34">
                  <c:v>198</c:v>
                </c:pt>
                <c:pt idx="35">
                  <c:v>200</c:v>
                </c:pt>
                <c:pt idx="36">
                  <c:v>203</c:v>
                </c:pt>
                <c:pt idx="37">
                  <c:v>206</c:v>
                </c:pt>
                <c:pt idx="38">
                  <c:v>209</c:v>
                </c:pt>
                <c:pt idx="39">
                  <c:v>211</c:v>
                </c:pt>
                <c:pt idx="40">
                  <c:v>213</c:v>
                </c:pt>
                <c:pt idx="41">
                  <c:v>215</c:v>
                </c:pt>
                <c:pt idx="42">
                  <c:v>214</c:v>
                </c:pt>
                <c:pt idx="43">
                  <c:v>219</c:v>
                </c:pt>
                <c:pt idx="44">
                  <c:v>233</c:v>
                </c:pt>
                <c:pt idx="45">
                  <c:v>245</c:v>
                </c:pt>
                <c:pt idx="46">
                  <c:v>255</c:v>
                </c:pt>
                <c:pt idx="47">
                  <c:v>264</c:v>
                </c:pt>
                <c:pt idx="48">
                  <c:v>267</c:v>
                </c:pt>
                <c:pt idx="49">
                  <c:v>289</c:v>
                </c:pt>
                <c:pt idx="50">
                  <c:v>300</c:v>
                </c:pt>
                <c:pt idx="51">
                  <c:v>309</c:v>
                </c:pt>
                <c:pt idx="52">
                  <c:v>316</c:v>
                </c:pt>
                <c:pt idx="53">
                  <c:v>322</c:v>
                </c:pt>
                <c:pt idx="54">
                  <c:v>327</c:v>
                </c:pt>
                <c:pt idx="55">
                  <c:v>332</c:v>
                </c:pt>
                <c:pt idx="56">
                  <c:v>338</c:v>
                </c:pt>
                <c:pt idx="57">
                  <c:v>343</c:v>
                </c:pt>
                <c:pt idx="58">
                  <c:v>347</c:v>
                </c:pt>
                <c:pt idx="59">
                  <c:v>351</c:v>
                </c:pt>
                <c:pt idx="60">
                  <c:v>354</c:v>
                </c:pt>
                <c:pt idx="61">
                  <c:v>357</c:v>
                </c:pt>
                <c:pt idx="62">
                  <c:v>360</c:v>
                </c:pt>
                <c:pt idx="63">
                  <c:v>364</c:v>
                </c:pt>
                <c:pt idx="64">
                  <c:v>361</c:v>
                </c:pt>
                <c:pt idx="65">
                  <c:v>367</c:v>
                </c:pt>
                <c:pt idx="66">
                  <c:v>373</c:v>
                </c:pt>
                <c:pt idx="67">
                  <c:v>378</c:v>
                </c:pt>
                <c:pt idx="68">
                  <c:v>384</c:v>
                </c:pt>
                <c:pt idx="69">
                  <c:v>388</c:v>
                </c:pt>
                <c:pt idx="70">
                  <c:v>393</c:v>
                </c:pt>
                <c:pt idx="71">
                  <c:v>414</c:v>
                </c:pt>
                <c:pt idx="72">
                  <c:v>423</c:v>
                </c:pt>
                <c:pt idx="73">
                  <c:v>429</c:v>
                </c:pt>
                <c:pt idx="74">
                  <c:v>432</c:v>
                </c:pt>
                <c:pt idx="75">
                  <c:v>436</c:v>
                </c:pt>
                <c:pt idx="76">
                  <c:v>439</c:v>
                </c:pt>
                <c:pt idx="77">
                  <c:v>441</c:v>
                </c:pt>
                <c:pt idx="78">
                  <c:v>443</c:v>
                </c:pt>
                <c:pt idx="79">
                  <c:v>445</c:v>
                </c:pt>
                <c:pt idx="80">
                  <c:v>445</c:v>
                </c:pt>
                <c:pt idx="81">
                  <c:v>447</c:v>
                </c:pt>
                <c:pt idx="82">
                  <c:v>449</c:v>
                </c:pt>
                <c:pt idx="83">
                  <c:v>451</c:v>
                </c:pt>
                <c:pt idx="84">
                  <c:v>452</c:v>
                </c:pt>
                <c:pt idx="85">
                  <c:v>454</c:v>
                </c:pt>
                <c:pt idx="86">
                  <c:v>455</c:v>
                </c:pt>
                <c:pt idx="87">
                  <c:v>456</c:v>
                </c:pt>
                <c:pt idx="88">
                  <c:v>458</c:v>
                </c:pt>
                <c:pt idx="89">
                  <c:v>461</c:v>
                </c:pt>
                <c:pt idx="90">
                  <c:v>463</c:v>
                </c:pt>
                <c:pt idx="91">
                  <c:v>466</c:v>
                </c:pt>
                <c:pt idx="92">
                  <c:v>460</c:v>
                </c:pt>
                <c:pt idx="93">
                  <c:v>466</c:v>
                </c:pt>
                <c:pt idx="94">
                  <c:v>471</c:v>
                </c:pt>
                <c:pt idx="95">
                  <c:v>476</c:v>
                </c:pt>
                <c:pt idx="96">
                  <c:v>490</c:v>
                </c:pt>
                <c:pt idx="97">
                  <c:v>495</c:v>
                </c:pt>
                <c:pt idx="98">
                  <c:v>500</c:v>
                </c:pt>
                <c:pt idx="99">
                  <c:v>504</c:v>
                </c:pt>
                <c:pt idx="100">
                  <c:v>508</c:v>
                </c:pt>
                <c:pt idx="101">
                  <c:v>512</c:v>
                </c:pt>
                <c:pt idx="102">
                  <c:v>514</c:v>
                </c:pt>
                <c:pt idx="103">
                  <c:v>517</c:v>
                </c:pt>
                <c:pt idx="104">
                  <c:v>520</c:v>
                </c:pt>
                <c:pt idx="105">
                  <c:v>522</c:v>
                </c:pt>
                <c:pt idx="106">
                  <c:v>525</c:v>
                </c:pt>
                <c:pt idx="107">
                  <c:v>526</c:v>
                </c:pt>
                <c:pt idx="108">
                  <c:v>528</c:v>
                </c:pt>
                <c:pt idx="109">
                  <c:v>529</c:v>
                </c:pt>
                <c:pt idx="110">
                  <c:v>530</c:v>
                </c:pt>
                <c:pt idx="111">
                  <c:v>531</c:v>
                </c:pt>
                <c:pt idx="112">
                  <c:v>533</c:v>
                </c:pt>
                <c:pt idx="113">
                  <c:v>534</c:v>
                </c:pt>
                <c:pt idx="114">
                  <c:v>536</c:v>
                </c:pt>
                <c:pt idx="115">
                  <c:v>538</c:v>
                </c:pt>
                <c:pt idx="116">
                  <c:v>541</c:v>
                </c:pt>
                <c:pt idx="117">
                  <c:v>545</c:v>
                </c:pt>
                <c:pt idx="118">
                  <c:v>547</c:v>
                </c:pt>
                <c:pt idx="119">
                  <c:v>550</c:v>
                </c:pt>
                <c:pt idx="120">
                  <c:v>554</c:v>
                </c:pt>
                <c:pt idx="121">
                  <c:v>557</c:v>
                </c:pt>
                <c:pt idx="122">
                  <c:v>560</c:v>
                </c:pt>
                <c:pt idx="123">
                  <c:v>562</c:v>
                </c:pt>
                <c:pt idx="124">
                  <c:v>563</c:v>
                </c:pt>
                <c:pt idx="125">
                  <c:v>563</c:v>
                </c:pt>
                <c:pt idx="126">
                  <c:v>564</c:v>
                </c:pt>
                <c:pt idx="127">
                  <c:v>565</c:v>
                </c:pt>
                <c:pt idx="128">
                  <c:v>565</c:v>
                </c:pt>
                <c:pt idx="129">
                  <c:v>566</c:v>
                </c:pt>
                <c:pt idx="130">
                  <c:v>567</c:v>
                </c:pt>
                <c:pt idx="131">
                  <c:v>568</c:v>
                </c:pt>
                <c:pt idx="132">
                  <c:v>568</c:v>
                </c:pt>
                <c:pt idx="133">
                  <c:v>569</c:v>
                </c:pt>
                <c:pt idx="134">
                  <c:v>571</c:v>
                </c:pt>
                <c:pt idx="135">
                  <c:v>571</c:v>
                </c:pt>
                <c:pt idx="136">
                  <c:v>572</c:v>
                </c:pt>
                <c:pt idx="137">
                  <c:v>574</c:v>
                </c:pt>
                <c:pt idx="138">
                  <c:v>575</c:v>
                </c:pt>
                <c:pt idx="139">
                  <c:v>577</c:v>
                </c:pt>
                <c:pt idx="140">
                  <c:v>580</c:v>
                </c:pt>
                <c:pt idx="141">
                  <c:v>583</c:v>
                </c:pt>
                <c:pt idx="142">
                  <c:v>586</c:v>
                </c:pt>
                <c:pt idx="143">
                  <c:v>589</c:v>
                </c:pt>
                <c:pt idx="144">
                  <c:v>595</c:v>
                </c:pt>
                <c:pt idx="145">
                  <c:v>600</c:v>
                </c:pt>
                <c:pt idx="146">
                  <c:v>603</c:v>
                </c:pt>
                <c:pt idx="147">
                  <c:v>605</c:v>
                </c:pt>
                <c:pt idx="148">
                  <c:v>606</c:v>
                </c:pt>
                <c:pt idx="149">
                  <c:v>608</c:v>
                </c:pt>
                <c:pt idx="150">
                  <c:v>607</c:v>
                </c:pt>
                <c:pt idx="151">
                  <c:v>608</c:v>
                </c:pt>
                <c:pt idx="152">
                  <c:v>608</c:v>
                </c:pt>
                <c:pt idx="153">
                  <c:v>610</c:v>
                </c:pt>
                <c:pt idx="154">
                  <c:v>609</c:v>
                </c:pt>
                <c:pt idx="155">
                  <c:v>611</c:v>
                </c:pt>
                <c:pt idx="156">
                  <c:v>612</c:v>
                </c:pt>
                <c:pt idx="157">
                  <c:v>612</c:v>
                </c:pt>
                <c:pt idx="158">
                  <c:v>613</c:v>
                </c:pt>
                <c:pt idx="159">
                  <c:v>614</c:v>
                </c:pt>
                <c:pt idx="160">
                  <c:v>615</c:v>
                </c:pt>
                <c:pt idx="161">
                  <c:v>617</c:v>
                </c:pt>
                <c:pt idx="162">
                  <c:v>618</c:v>
                </c:pt>
                <c:pt idx="163">
                  <c:v>620</c:v>
                </c:pt>
                <c:pt idx="164">
                  <c:v>623</c:v>
                </c:pt>
                <c:pt idx="165">
                  <c:v>625</c:v>
                </c:pt>
                <c:pt idx="166">
                  <c:v>641</c:v>
                </c:pt>
                <c:pt idx="167">
                  <c:v>645</c:v>
                </c:pt>
                <c:pt idx="168">
                  <c:v>648</c:v>
                </c:pt>
                <c:pt idx="169">
                  <c:v>651</c:v>
                </c:pt>
                <c:pt idx="170">
                  <c:v>653</c:v>
                </c:pt>
                <c:pt idx="171">
                  <c:v>654</c:v>
                </c:pt>
                <c:pt idx="172">
                  <c:v>655</c:v>
                </c:pt>
                <c:pt idx="173">
                  <c:v>655</c:v>
                </c:pt>
                <c:pt idx="174">
                  <c:v>656</c:v>
                </c:pt>
                <c:pt idx="175">
                  <c:v>656</c:v>
                </c:pt>
                <c:pt idx="176">
                  <c:v>656</c:v>
                </c:pt>
                <c:pt idx="177">
                  <c:v>656</c:v>
                </c:pt>
                <c:pt idx="178">
                  <c:v>657</c:v>
                </c:pt>
                <c:pt idx="179">
                  <c:v>657</c:v>
                </c:pt>
                <c:pt idx="180">
                  <c:v>657</c:v>
                </c:pt>
                <c:pt idx="181">
                  <c:v>658</c:v>
                </c:pt>
                <c:pt idx="182">
                  <c:v>659</c:v>
                </c:pt>
                <c:pt idx="183">
                  <c:v>659</c:v>
                </c:pt>
                <c:pt idx="184">
                  <c:v>660</c:v>
                </c:pt>
                <c:pt idx="185">
                  <c:v>661</c:v>
                </c:pt>
                <c:pt idx="186">
                  <c:v>663</c:v>
                </c:pt>
                <c:pt idx="187">
                  <c:v>663</c:v>
                </c:pt>
                <c:pt idx="188">
                  <c:v>666</c:v>
                </c:pt>
                <c:pt idx="189">
                  <c:v>668</c:v>
                </c:pt>
                <c:pt idx="190">
                  <c:v>670</c:v>
                </c:pt>
                <c:pt idx="191">
                  <c:v>672</c:v>
                </c:pt>
                <c:pt idx="192">
                  <c:v>675</c:v>
                </c:pt>
                <c:pt idx="193">
                  <c:v>677</c:v>
                </c:pt>
                <c:pt idx="194">
                  <c:v>679</c:v>
                </c:pt>
                <c:pt idx="195">
                  <c:v>680</c:v>
                </c:pt>
                <c:pt idx="196">
                  <c:v>680</c:v>
                </c:pt>
                <c:pt idx="197">
                  <c:v>680</c:v>
                </c:pt>
                <c:pt idx="198">
                  <c:v>679</c:v>
                </c:pt>
                <c:pt idx="199">
                  <c:v>679</c:v>
                </c:pt>
                <c:pt idx="200">
                  <c:v>679</c:v>
                </c:pt>
                <c:pt idx="201">
                  <c:v>679</c:v>
                </c:pt>
                <c:pt idx="202">
                  <c:v>680</c:v>
                </c:pt>
                <c:pt idx="203">
                  <c:v>680</c:v>
                </c:pt>
                <c:pt idx="204">
                  <c:v>680</c:v>
                </c:pt>
                <c:pt idx="205">
                  <c:v>681</c:v>
                </c:pt>
                <c:pt idx="206">
                  <c:v>681</c:v>
                </c:pt>
                <c:pt idx="207">
                  <c:v>681</c:v>
                </c:pt>
                <c:pt idx="208">
                  <c:v>682</c:v>
                </c:pt>
                <c:pt idx="209">
                  <c:v>682</c:v>
                </c:pt>
                <c:pt idx="210">
                  <c:v>684</c:v>
                </c:pt>
                <c:pt idx="211">
                  <c:v>686</c:v>
                </c:pt>
                <c:pt idx="212">
                  <c:v>688</c:v>
                </c:pt>
                <c:pt idx="213">
                  <c:v>689</c:v>
                </c:pt>
                <c:pt idx="214">
                  <c:v>691</c:v>
                </c:pt>
                <c:pt idx="215">
                  <c:v>692</c:v>
                </c:pt>
                <c:pt idx="216">
                  <c:v>694</c:v>
                </c:pt>
                <c:pt idx="217">
                  <c:v>696</c:v>
                </c:pt>
                <c:pt idx="218">
                  <c:v>697</c:v>
                </c:pt>
                <c:pt idx="219">
                  <c:v>699</c:v>
                </c:pt>
                <c:pt idx="220">
                  <c:v>699</c:v>
                </c:pt>
                <c:pt idx="221">
                  <c:v>701</c:v>
                </c:pt>
                <c:pt idx="222">
                  <c:v>702</c:v>
                </c:pt>
                <c:pt idx="223">
                  <c:v>703</c:v>
                </c:pt>
                <c:pt idx="224">
                  <c:v>704</c:v>
                </c:pt>
                <c:pt idx="225">
                  <c:v>704</c:v>
                </c:pt>
                <c:pt idx="226">
                  <c:v>704</c:v>
                </c:pt>
                <c:pt idx="227">
                  <c:v>705</c:v>
                </c:pt>
                <c:pt idx="228">
                  <c:v>706</c:v>
                </c:pt>
                <c:pt idx="229">
                  <c:v>707</c:v>
                </c:pt>
                <c:pt idx="230">
                  <c:v>707</c:v>
                </c:pt>
                <c:pt idx="231">
                  <c:v>708</c:v>
                </c:pt>
                <c:pt idx="232">
                  <c:v>709</c:v>
                </c:pt>
                <c:pt idx="233">
                  <c:v>710</c:v>
                </c:pt>
                <c:pt idx="234">
                  <c:v>711</c:v>
                </c:pt>
                <c:pt idx="235">
                  <c:v>715</c:v>
                </c:pt>
                <c:pt idx="236">
                  <c:v>720</c:v>
                </c:pt>
                <c:pt idx="237">
                  <c:v>725</c:v>
                </c:pt>
                <c:pt idx="238">
                  <c:v>728</c:v>
                </c:pt>
                <c:pt idx="239">
                  <c:v>732</c:v>
                </c:pt>
                <c:pt idx="240">
                  <c:v>736</c:v>
                </c:pt>
                <c:pt idx="241">
                  <c:v>740</c:v>
                </c:pt>
                <c:pt idx="242">
                  <c:v>741</c:v>
                </c:pt>
                <c:pt idx="243">
                  <c:v>741</c:v>
                </c:pt>
                <c:pt idx="244">
                  <c:v>742</c:v>
                </c:pt>
                <c:pt idx="245">
                  <c:v>742</c:v>
                </c:pt>
                <c:pt idx="246">
                  <c:v>742</c:v>
                </c:pt>
                <c:pt idx="247">
                  <c:v>741</c:v>
                </c:pt>
                <c:pt idx="248">
                  <c:v>741</c:v>
                </c:pt>
                <c:pt idx="249">
                  <c:v>741</c:v>
                </c:pt>
                <c:pt idx="250">
                  <c:v>741</c:v>
                </c:pt>
                <c:pt idx="251">
                  <c:v>742</c:v>
                </c:pt>
                <c:pt idx="252">
                  <c:v>743</c:v>
                </c:pt>
                <c:pt idx="253">
                  <c:v>742</c:v>
                </c:pt>
                <c:pt idx="254">
                  <c:v>743</c:v>
                </c:pt>
                <c:pt idx="255">
                  <c:v>743</c:v>
                </c:pt>
                <c:pt idx="256">
                  <c:v>744</c:v>
                </c:pt>
                <c:pt idx="257">
                  <c:v>745</c:v>
                </c:pt>
                <c:pt idx="258">
                  <c:v>743</c:v>
                </c:pt>
                <c:pt idx="259">
                  <c:v>742</c:v>
                </c:pt>
                <c:pt idx="260">
                  <c:v>742</c:v>
                </c:pt>
                <c:pt idx="261">
                  <c:v>743</c:v>
                </c:pt>
                <c:pt idx="262">
                  <c:v>746</c:v>
                </c:pt>
                <c:pt idx="263">
                  <c:v>747</c:v>
                </c:pt>
                <c:pt idx="264">
                  <c:v>748</c:v>
                </c:pt>
                <c:pt idx="265">
                  <c:v>747</c:v>
                </c:pt>
                <c:pt idx="266">
                  <c:v>773</c:v>
                </c:pt>
                <c:pt idx="267">
                  <c:v>776</c:v>
                </c:pt>
                <c:pt idx="268">
                  <c:v>778</c:v>
                </c:pt>
                <c:pt idx="269">
                  <c:v>779</c:v>
                </c:pt>
                <c:pt idx="270">
                  <c:v>780</c:v>
                </c:pt>
                <c:pt idx="271">
                  <c:v>780</c:v>
                </c:pt>
                <c:pt idx="272">
                  <c:v>780</c:v>
                </c:pt>
                <c:pt idx="273">
                  <c:v>781</c:v>
                </c:pt>
                <c:pt idx="274">
                  <c:v>781</c:v>
                </c:pt>
                <c:pt idx="275">
                  <c:v>781</c:v>
                </c:pt>
                <c:pt idx="276">
                  <c:v>781</c:v>
                </c:pt>
                <c:pt idx="277">
                  <c:v>782</c:v>
                </c:pt>
                <c:pt idx="278">
                  <c:v>782</c:v>
                </c:pt>
                <c:pt idx="279">
                  <c:v>783</c:v>
                </c:pt>
                <c:pt idx="280">
                  <c:v>783</c:v>
                </c:pt>
                <c:pt idx="281">
                  <c:v>784</c:v>
                </c:pt>
                <c:pt idx="282">
                  <c:v>785</c:v>
                </c:pt>
                <c:pt idx="283">
                  <c:v>787</c:v>
                </c:pt>
                <c:pt idx="284">
                  <c:v>788</c:v>
                </c:pt>
                <c:pt idx="285">
                  <c:v>791</c:v>
                </c:pt>
                <c:pt idx="286">
                  <c:v>793</c:v>
                </c:pt>
                <c:pt idx="287">
                  <c:v>796</c:v>
                </c:pt>
                <c:pt idx="288">
                  <c:v>798</c:v>
                </c:pt>
                <c:pt idx="289">
                  <c:v>802</c:v>
                </c:pt>
                <c:pt idx="290">
                  <c:v>804</c:v>
                </c:pt>
                <c:pt idx="291">
                  <c:v>806</c:v>
                </c:pt>
                <c:pt idx="292">
                  <c:v>806</c:v>
                </c:pt>
                <c:pt idx="293">
                  <c:v>806</c:v>
                </c:pt>
                <c:pt idx="294">
                  <c:v>806</c:v>
                </c:pt>
                <c:pt idx="295">
                  <c:v>805</c:v>
                </c:pt>
                <c:pt idx="296">
                  <c:v>805</c:v>
                </c:pt>
                <c:pt idx="297">
                  <c:v>805</c:v>
                </c:pt>
                <c:pt idx="298">
                  <c:v>805</c:v>
                </c:pt>
                <c:pt idx="299">
                  <c:v>805</c:v>
                </c:pt>
                <c:pt idx="300">
                  <c:v>805</c:v>
                </c:pt>
                <c:pt idx="301">
                  <c:v>806</c:v>
                </c:pt>
                <c:pt idx="302">
                  <c:v>806</c:v>
                </c:pt>
                <c:pt idx="303">
                  <c:v>806</c:v>
                </c:pt>
                <c:pt idx="304">
                  <c:v>807</c:v>
                </c:pt>
                <c:pt idx="305">
                  <c:v>807</c:v>
                </c:pt>
                <c:pt idx="306">
                  <c:v>809</c:v>
                </c:pt>
                <c:pt idx="307">
                  <c:v>811</c:v>
                </c:pt>
                <c:pt idx="308">
                  <c:v>812</c:v>
                </c:pt>
                <c:pt idx="309">
                  <c:v>814</c:v>
                </c:pt>
                <c:pt idx="310">
                  <c:v>817</c:v>
                </c:pt>
                <c:pt idx="311">
                  <c:v>819</c:v>
                </c:pt>
                <c:pt idx="312">
                  <c:v>822</c:v>
                </c:pt>
                <c:pt idx="313">
                  <c:v>825</c:v>
                </c:pt>
                <c:pt idx="314">
                  <c:v>827</c:v>
                </c:pt>
                <c:pt idx="315">
                  <c:v>827</c:v>
                </c:pt>
                <c:pt idx="316">
                  <c:v>827</c:v>
                </c:pt>
                <c:pt idx="317">
                  <c:v>826</c:v>
                </c:pt>
                <c:pt idx="318">
                  <c:v>826</c:v>
                </c:pt>
                <c:pt idx="319">
                  <c:v>824</c:v>
                </c:pt>
                <c:pt idx="320">
                  <c:v>824</c:v>
                </c:pt>
                <c:pt idx="321">
                  <c:v>824</c:v>
                </c:pt>
                <c:pt idx="322">
                  <c:v>824</c:v>
                </c:pt>
                <c:pt idx="323">
                  <c:v>824</c:v>
                </c:pt>
                <c:pt idx="324">
                  <c:v>824</c:v>
                </c:pt>
                <c:pt idx="325">
                  <c:v>823</c:v>
                </c:pt>
                <c:pt idx="326">
                  <c:v>823</c:v>
                </c:pt>
                <c:pt idx="327">
                  <c:v>823</c:v>
                </c:pt>
                <c:pt idx="328">
                  <c:v>823</c:v>
                </c:pt>
                <c:pt idx="329">
                  <c:v>822</c:v>
                </c:pt>
                <c:pt idx="330">
                  <c:v>822</c:v>
                </c:pt>
                <c:pt idx="331">
                  <c:v>824</c:v>
                </c:pt>
                <c:pt idx="332">
                  <c:v>825</c:v>
                </c:pt>
                <c:pt idx="333">
                  <c:v>82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228B-694F-B280-C1AC79C597B4}"/>
            </c:ext>
          </c:extLst>
        </c:ser>
        <c:ser>
          <c:idx val="1"/>
          <c:order val="2"/>
          <c:tx>
            <c:v>3</c:v>
          </c:tx>
          <c:spPr>
            <a:ln w="38100" cap="rnd" cmpd="sng" algn="ctr">
              <a:solidFill>
                <a:srgbClr val="00B050"/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'03'!$E$20:$E$353</c:f>
              <c:numCache>
                <c:formatCode>0</c:formatCode>
                <c:ptCount val="334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</c:numCache>
            </c:numRef>
          </c:xVal>
          <c:yVal>
            <c:numRef>
              <c:f>'03'!$D$20:$D$353</c:f>
              <c:numCache>
                <c:formatCode>General</c:formatCode>
                <c:ptCount val="334"/>
                <c:pt idx="0">
                  <c:v>0</c:v>
                </c:pt>
                <c:pt idx="1">
                  <c:v>56</c:v>
                </c:pt>
                <c:pt idx="2">
                  <c:v>82</c:v>
                </c:pt>
                <c:pt idx="3">
                  <c:v>101</c:v>
                </c:pt>
                <c:pt idx="4">
                  <c:v>117</c:v>
                </c:pt>
                <c:pt idx="5">
                  <c:v>130</c:v>
                </c:pt>
                <c:pt idx="6">
                  <c:v>141</c:v>
                </c:pt>
                <c:pt idx="7">
                  <c:v>151</c:v>
                </c:pt>
                <c:pt idx="8">
                  <c:v>159</c:v>
                </c:pt>
                <c:pt idx="9">
                  <c:v>166</c:v>
                </c:pt>
                <c:pt idx="10">
                  <c:v>173</c:v>
                </c:pt>
                <c:pt idx="11">
                  <c:v>179</c:v>
                </c:pt>
                <c:pt idx="12">
                  <c:v>184</c:v>
                </c:pt>
                <c:pt idx="13">
                  <c:v>189</c:v>
                </c:pt>
                <c:pt idx="14">
                  <c:v>195</c:v>
                </c:pt>
                <c:pt idx="15">
                  <c:v>199</c:v>
                </c:pt>
                <c:pt idx="16">
                  <c:v>204</c:v>
                </c:pt>
                <c:pt idx="17">
                  <c:v>210</c:v>
                </c:pt>
                <c:pt idx="18">
                  <c:v>216</c:v>
                </c:pt>
                <c:pt idx="19">
                  <c:v>220</c:v>
                </c:pt>
                <c:pt idx="20">
                  <c:v>226</c:v>
                </c:pt>
                <c:pt idx="21">
                  <c:v>230</c:v>
                </c:pt>
                <c:pt idx="22">
                  <c:v>224</c:v>
                </c:pt>
                <c:pt idx="23">
                  <c:v>209</c:v>
                </c:pt>
                <c:pt idx="24">
                  <c:v>243</c:v>
                </c:pt>
                <c:pt idx="25">
                  <c:v>253</c:v>
                </c:pt>
                <c:pt idx="26">
                  <c:v>261</c:v>
                </c:pt>
                <c:pt idx="27">
                  <c:v>267</c:v>
                </c:pt>
                <c:pt idx="28">
                  <c:v>273</c:v>
                </c:pt>
                <c:pt idx="29">
                  <c:v>278</c:v>
                </c:pt>
                <c:pt idx="30">
                  <c:v>283</c:v>
                </c:pt>
                <c:pt idx="31">
                  <c:v>287</c:v>
                </c:pt>
                <c:pt idx="32">
                  <c:v>291</c:v>
                </c:pt>
                <c:pt idx="33">
                  <c:v>295</c:v>
                </c:pt>
                <c:pt idx="34">
                  <c:v>299</c:v>
                </c:pt>
                <c:pt idx="35">
                  <c:v>302</c:v>
                </c:pt>
                <c:pt idx="36">
                  <c:v>305</c:v>
                </c:pt>
                <c:pt idx="37">
                  <c:v>308</c:v>
                </c:pt>
                <c:pt idx="38">
                  <c:v>312</c:v>
                </c:pt>
                <c:pt idx="39">
                  <c:v>315</c:v>
                </c:pt>
                <c:pt idx="40">
                  <c:v>318</c:v>
                </c:pt>
                <c:pt idx="41">
                  <c:v>321</c:v>
                </c:pt>
                <c:pt idx="42">
                  <c:v>320</c:v>
                </c:pt>
                <c:pt idx="43">
                  <c:v>325</c:v>
                </c:pt>
                <c:pt idx="44">
                  <c:v>337</c:v>
                </c:pt>
                <c:pt idx="45">
                  <c:v>348</c:v>
                </c:pt>
                <c:pt idx="46">
                  <c:v>358</c:v>
                </c:pt>
                <c:pt idx="47">
                  <c:v>367</c:v>
                </c:pt>
                <c:pt idx="48">
                  <c:v>371</c:v>
                </c:pt>
                <c:pt idx="49">
                  <c:v>369</c:v>
                </c:pt>
                <c:pt idx="50">
                  <c:v>380</c:v>
                </c:pt>
                <c:pt idx="51">
                  <c:v>387</c:v>
                </c:pt>
                <c:pt idx="52">
                  <c:v>394</c:v>
                </c:pt>
                <c:pt idx="53">
                  <c:v>399</c:v>
                </c:pt>
                <c:pt idx="54">
                  <c:v>404</c:v>
                </c:pt>
                <c:pt idx="55">
                  <c:v>409</c:v>
                </c:pt>
                <c:pt idx="56">
                  <c:v>413</c:v>
                </c:pt>
                <c:pt idx="57">
                  <c:v>418</c:v>
                </c:pt>
                <c:pt idx="58">
                  <c:v>421</c:v>
                </c:pt>
                <c:pt idx="59">
                  <c:v>425</c:v>
                </c:pt>
                <c:pt idx="60">
                  <c:v>428</c:v>
                </c:pt>
                <c:pt idx="61">
                  <c:v>431</c:v>
                </c:pt>
                <c:pt idx="62">
                  <c:v>434</c:v>
                </c:pt>
                <c:pt idx="63">
                  <c:v>437</c:v>
                </c:pt>
                <c:pt idx="64">
                  <c:v>435</c:v>
                </c:pt>
                <c:pt idx="65">
                  <c:v>440</c:v>
                </c:pt>
                <c:pt idx="66">
                  <c:v>444</c:v>
                </c:pt>
                <c:pt idx="67">
                  <c:v>449</c:v>
                </c:pt>
                <c:pt idx="68">
                  <c:v>454</c:v>
                </c:pt>
                <c:pt idx="69">
                  <c:v>459</c:v>
                </c:pt>
                <c:pt idx="70">
                  <c:v>463</c:v>
                </c:pt>
                <c:pt idx="71">
                  <c:v>468</c:v>
                </c:pt>
                <c:pt idx="72">
                  <c:v>475</c:v>
                </c:pt>
                <c:pt idx="73">
                  <c:v>480</c:v>
                </c:pt>
                <c:pt idx="74">
                  <c:v>485</c:v>
                </c:pt>
                <c:pt idx="75">
                  <c:v>488</c:v>
                </c:pt>
                <c:pt idx="76">
                  <c:v>490</c:v>
                </c:pt>
                <c:pt idx="77">
                  <c:v>493</c:v>
                </c:pt>
                <c:pt idx="78">
                  <c:v>494</c:v>
                </c:pt>
                <c:pt idx="79">
                  <c:v>496</c:v>
                </c:pt>
                <c:pt idx="80">
                  <c:v>498</c:v>
                </c:pt>
                <c:pt idx="81">
                  <c:v>499</c:v>
                </c:pt>
                <c:pt idx="82">
                  <c:v>501</c:v>
                </c:pt>
                <c:pt idx="83">
                  <c:v>503</c:v>
                </c:pt>
                <c:pt idx="84">
                  <c:v>505</c:v>
                </c:pt>
                <c:pt idx="85">
                  <c:v>506</c:v>
                </c:pt>
                <c:pt idx="86">
                  <c:v>508</c:v>
                </c:pt>
                <c:pt idx="87">
                  <c:v>510</c:v>
                </c:pt>
                <c:pt idx="88">
                  <c:v>512</c:v>
                </c:pt>
                <c:pt idx="89">
                  <c:v>514</c:v>
                </c:pt>
                <c:pt idx="90">
                  <c:v>517</c:v>
                </c:pt>
                <c:pt idx="91">
                  <c:v>520</c:v>
                </c:pt>
                <c:pt idx="92">
                  <c:v>514</c:v>
                </c:pt>
                <c:pt idx="93">
                  <c:v>519</c:v>
                </c:pt>
                <c:pt idx="94">
                  <c:v>524</c:v>
                </c:pt>
                <c:pt idx="95">
                  <c:v>528</c:v>
                </c:pt>
                <c:pt idx="96">
                  <c:v>535</c:v>
                </c:pt>
                <c:pt idx="97">
                  <c:v>540</c:v>
                </c:pt>
                <c:pt idx="98">
                  <c:v>545</c:v>
                </c:pt>
                <c:pt idx="99">
                  <c:v>549</c:v>
                </c:pt>
                <c:pt idx="100">
                  <c:v>552</c:v>
                </c:pt>
                <c:pt idx="101">
                  <c:v>556</c:v>
                </c:pt>
                <c:pt idx="102">
                  <c:v>559</c:v>
                </c:pt>
                <c:pt idx="103">
                  <c:v>562</c:v>
                </c:pt>
                <c:pt idx="104">
                  <c:v>565</c:v>
                </c:pt>
                <c:pt idx="105">
                  <c:v>567</c:v>
                </c:pt>
                <c:pt idx="106">
                  <c:v>570</c:v>
                </c:pt>
                <c:pt idx="107">
                  <c:v>571</c:v>
                </c:pt>
                <c:pt idx="108">
                  <c:v>573</c:v>
                </c:pt>
                <c:pt idx="109">
                  <c:v>574</c:v>
                </c:pt>
                <c:pt idx="110">
                  <c:v>576</c:v>
                </c:pt>
                <c:pt idx="111">
                  <c:v>577</c:v>
                </c:pt>
                <c:pt idx="112">
                  <c:v>579</c:v>
                </c:pt>
                <c:pt idx="113">
                  <c:v>580</c:v>
                </c:pt>
                <c:pt idx="114">
                  <c:v>582</c:v>
                </c:pt>
                <c:pt idx="115">
                  <c:v>585</c:v>
                </c:pt>
                <c:pt idx="116">
                  <c:v>588</c:v>
                </c:pt>
                <c:pt idx="117">
                  <c:v>591</c:v>
                </c:pt>
                <c:pt idx="118">
                  <c:v>594</c:v>
                </c:pt>
                <c:pt idx="119">
                  <c:v>597</c:v>
                </c:pt>
                <c:pt idx="120">
                  <c:v>601</c:v>
                </c:pt>
                <c:pt idx="121">
                  <c:v>605</c:v>
                </c:pt>
                <c:pt idx="122">
                  <c:v>607</c:v>
                </c:pt>
                <c:pt idx="123">
                  <c:v>609</c:v>
                </c:pt>
                <c:pt idx="124">
                  <c:v>611</c:v>
                </c:pt>
                <c:pt idx="125">
                  <c:v>611</c:v>
                </c:pt>
                <c:pt idx="126">
                  <c:v>612</c:v>
                </c:pt>
                <c:pt idx="127">
                  <c:v>613</c:v>
                </c:pt>
                <c:pt idx="128">
                  <c:v>614</c:v>
                </c:pt>
                <c:pt idx="129">
                  <c:v>615</c:v>
                </c:pt>
                <c:pt idx="130">
                  <c:v>616</c:v>
                </c:pt>
                <c:pt idx="131">
                  <c:v>617</c:v>
                </c:pt>
                <c:pt idx="132">
                  <c:v>618</c:v>
                </c:pt>
                <c:pt idx="133">
                  <c:v>619</c:v>
                </c:pt>
                <c:pt idx="134">
                  <c:v>620</c:v>
                </c:pt>
                <c:pt idx="135">
                  <c:v>622</c:v>
                </c:pt>
                <c:pt idx="136">
                  <c:v>623</c:v>
                </c:pt>
                <c:pt idx="137">
                  <c:v>624</c:v>
                </c:pt>
                <c:pt idx="138">
                  <c:v>626</c:v>
                </c:pt>
                <c:pt idx="139">
                  <c:v>628</c:v>
                </c:pt>
                <c:pt idx="140">
                  <c:v>630</c:v>
                </c:pt>
                <c:pt idx="141">
                  <c:v>634</c:v>
                </c:pt>
                <c:pt idx="142">
                  <c:v>637</c:v>
                </c:pt>
                <c:pt idx="143">
                  <c:v>641</c:v>
                </c:pt>
                <c:pt idx="144">
                  <c:v>646</c:v>
                </c:pt>
                <c:pt idx="145">
                  <c:v>651</c:v>
                </c:pt>
                <c:pt idx="146">
                  <c:v>654</c:v>
                </c:pt>
                <c:pt idx="147">
                  <c:v>656</c:v>
                </c:pt>
                <c:pt idx="148">
                  <c:v>657</c:v>
                </c:pt>
                <c:pt idx="149">
                  <c:v>659</c:v>
                </c:pt>
                <c:pt idx="150">
                  <c:v>659</c:v>
                </c:pt>
                <c:pt idx="151">
                  <c:v>660</c:v>
                </c:pt>
                <c:pt idx="152">
                  <c:v>661</c:v>
                </c:pt>
                <c:pt idx="153">
                  <c:v>662</c:v>
                </c:pt>
                <c:pt idx="154">
                  <c:v>663</c:v>
                </c:pt>
                <c:pt idx="155">
                  <c:v>664</c:v>
                </c:pt>
                <c:pt idx="156">
                  <c:v>665</c:v>
                </c:pt>
                <c:pt idx="157">
                  <c:v>667</c:v>
                </c:pt>
                <c:pt idx="158">
                  <c:v>668</c:v>
                </c:pt>
                <c:pt idx="159">
                  <c:v>668</c:v>
                </c:pt>
                <c:pt idx="160">
                  <c:v>669</c:v>
                </c:pt>
                <c:pt idx="161">
                  <c:v>671</c:v>
                </c:pt>
                <c:pt idx="162">
                  <c:v>673</c:v>
                </c:pt>
                <c:pt idx="163">
                  <c:v>676</c:v>
                </c:pt>
                <c:pt idx="164">
                  <c:v>678</c:v>
                </c:pt>
                <c:pt idx="165">
                  <c:v>681</c:v>
                </c:pt>
                <c:pt idx="166">
                  <c:v>695</c:v>
                </c:pt>
                <c:pt idx="167">
                  <c:v>699</c:v>
                </c:pt>
                <c:pt idx="168">
                  <c:v>702</c:v>
                </c:pt>
                <c:pt idx="169">
                  <c:v>705</c:v>
                </c:pt>
                <c:pt idx="170">
                  <c:v>707</c:v>
                </c:pt>
                <c:pt idx="171">
                  <c:v>709</c:v>
                </c:pt>
                <c:pt idx="172">
                  <c:v>710</c:v>
                </c:pt>
                <c:pt idx="173">
                  <c:v>710</c:v>
                </c:pt>
                <c:pt idx="174">
                  <c:v>710</c:v>
                </c:pt>
                <c:pt idx="175">
                  <c:v>711</c:v>
                </c:pt>
                <c:pt idx="176">
                  <c:v>711</c:v>
                </c:pt>
                <c:pt idx="177">
                  <c:v>712</c:v>
                </c:pt>
                <c:pt idx="178">
                  <c:v>713</c:v>
                </c:pt>
                <c:pt idx="179">
                  <c:v>713</c:v>
                </c:pt>
                <c:pt idx="180">
                  <c:v>714</c:v>
                </c:pt>
                <c:pt idx="181">
                  <c:v>715</c:v>
                </c:pt>
                <c:pt idx="182">
                  <c:v>715</c:v>
                </c:pt>
                <c:pt idx="183">
                  <c:v>716</c:v>
                </c:pt>
                <c:pt idx="184">
                  <c:v>718</c:v>
                </c:pt>
                <c:pt idx="185">
                  <c:v>719</c:v>
                </c:pt>
                <c:pt idx="186">
                  <c:v>721</c:v>
                </c:pt>
                <c:pt idx="187">
                  <c:v>722</c:v>
                </c:pt>
                <c:pt idx="188">
                  <c:v>725</c:v>
                </c:pt>
                <c:pt idx="189">
                  <c:v>727</c:v>
                </c:pt>
                <c:pt idx="190">
                  <c:v>729</c:v>
                </c:pt>
                <c:pt idx="191">
                  <c:v>732</c:v>
                </c:pt>
                <c:pt idx="192">
                  <c:v>735</c:v>
                </c:pt>
                <c:pt idx="193">
                  <c:v>737</c:v>
                </c:pt>
                <c:pt idx="194">
                  <c:v>739</c:v>
                </c:pt>
                <c:pt idx="195">
                  <c:v>740</c:v>
                </c:pt>
                <c:pt idx="196">
                  <c:v>740</c:v>
                </c:pt>
                <c:pt idx="197">
                  <c:v>740</c:v>
                </c:pt>
                <c:pt idx="198">
                  <c:v>740</c:v>
                </c:pt>
                <c:pt idx="199">
                  <c:v>741</c:v>
                </c:pt>
                <c:pt idx="200">
                  <c:v>741</c:v>
                </c:pt>
                <c:pt idx="201">
                  <c:v>741</c:v>
                </c:pt>
                <c:pt idx="202">
                  <c:v>742</c:v>
                </c:pt>
                <c:pt idx="203">
                  <c:v>743</c:v>
                </c:pt>
                <c:pt idx="204">
                  <c:v>743</c:v>
                </c:pt>
                <c:pt idx="205">
                  <c:v>744</c:v>
                </c:pt>
                <c:pt idx="206">
                  <c:v>745</c:v>
                </c:pt>
                <c:pt idx="207">
                  <c:v>745</c:v>
                </c:pt>
                <c:pt idx="208">
                  <c:v>746</c:v>
                </c:pt>
                <c:pt idx="209">
                  <c:v>747</c:v>
                </c:pt>
                <c:pt idx="210">
                  <c:v>749</c:v>
                </c:pt>
                <c:pt idx="211">
                  <c:v>750</c:v>
                </c:pt>
                <c:pt idx="212">
                  <c:v>752</c:v>
                </c:pt>
                <c:pt idx="213">
                  <c:v>754</c:v>
                </c:pt>
                <c:pt idx="214">
                  <c:v>756</c:v>
                </c:pt>
                <c:pt idx="215">
                  <c:v>757</c:v>
                </c:pt>
                <c:pt idx="216">
                  <c:v>759</c:v>
                </c:pt>
                <c:pt idx="217">
                  <c:v>761</c:v>
                </c:pt>
                <c:pt idx="218">
                  <c:v>763</c:v>
                </c:pt>
                <c:pt idx="219">
                  <c:v>765</c:v>
                </c:pt>
                <c:pt idx="220">
                  <c:v>767</c:v>
                </c:pt>
                <c:pt idx="221">
                  <c:v>768</c:v>
                </c:pt>
                <c:pt idx="222">
                  <c:v>769</c:v>
                </c:pt>
                <c:pt idx="223">
                  <c:v>770</c:v>
                </c:pt>
                <c:pt idx="224">
                  <c:v>771</c:v>
                </c:pt>
                <c:pt idx="225">
                  <c:v>773</c:v>
                </c:pt>
                <c:pt idx="226">
                  <c:v>773</c:v>
                </c:pt>
                <c:pt idx="227">
                  <c:v>774</c:v>
                </c:pt>
                <c:pt idx="228">
                  <c:v>775</c:v>
                </c:pt>
                <c:pt idx="229">
                  <c:v>776</c:v>
                </c:pt>
                <c:pt idx="230">
                  <c:v>777</c:v>
                </c:pt>
                <c:pt idx="231">
                  <c:v>778</c:v>
                </c:pt>
                <c:pt idx="232">
                  <c:v>779</c:v>
                </c:pt>
                <c:pt idx="233">
                  <c:v>780</c:v>
                </c:pt>
                <c:pt idx="234">
                  <c:v>781</c:v>
                </c:pt>
                <c:pt idx="235">
                  <c:v>785</c:v>
                </c:pt>
                <c:pt idx="236">
                  <c:v>790</c:v>
                </c:pt>
                <c:pt idx="237">
                  <c:v>795</c:v>
                </c:pt>
                <c:pt idx="238">
                  <c:v>799</c:v>
                </c:pt>
                <c:pt idx="239">
                  <c:v>803</c:v>
                </c:pt>
                <c:pt idx="240">
                  <c:v>806</c:v>
                </c:pt>
                <c:pt idx="241">
                  <c:v>811</c:v>
                </c:pt>
                <c:pt idx="242">
                  <c:v>813</c:v>
                </c:pt>
                <c:pt idx="243">
                  <c:v>813</c:v>
                </c:pt>
                <c:pt idx="244">
                  <c:v>814</c:v>
                </c:pt>
                <c:pt idx="245">
                  <c:v>815</c:v>
                </c:pt>
                <c:pt idx="246">
                  <c:v>815</c:v>
                </c:pt>
                <c:pt idx="247">
                  <c:v>815</c:v>
                </c:pt>
                <c:pt idx="248">
                  <c:v>815</c:v>
                </c:pt>
                <c:pt idx="249">
                  <c:v>817</c:v>
                </c:pt>
                <c:pt idx="250">
                  <c:v>817</c:v>
                </c:pt>
                <c:pt idx="251">
                  <c:v>818</c:v>
                </c:pt>
                <c:pt idx="252">
                  <c:v>818</c:v>
                </c:pt>
                <c:pt idx="253">
                  <c:v>819</c:v>
                </c:pt>
                <c:pt idx="254">
                  <c:v>820</c:v>
                </c:pt>
                <c:pt idx="255">
                  <c:v>820</c:v>
                </c:pt>
                <c:pt idx="256">
                  <c:v>821</c:v>
                </c:pt>
                <c:pt idx="257">
                  <c:v>823</c:v>
                </c:pt>
                <c:pt idx="258">
                  <c:v>822</c:v>
                </c:pt>
                <c:pt idx="259">
                  <c:v>821</c:v>
                </c:pt>
                <c:pt idx="260">
                  <c:v>821</c:v>
                </c:pt>
                <c:pt idx="261">
                  <c:v>823</c:v>
                </c:pt>
                <c:pt idx="262">
                  <c:v>825</c:v>
                </c:pt>
                <c:pt idx="263">
                  <c:v>827</c:v>
                </c:pt>
                <c:pt idx="264">
                  <c:v>829</c:v>
                </c:pt>
                <c:pt idx="265">
                  <c:v>828</c:v>
                </c:pt>
                <c:pt idx="266">
                  <c:v>854</c:v>
                </c:pt>
                <c:pt idx="267">
                  <c:v>857</c:v>
                </c:pt>
                <c:pt idx="268">
                  <c:v>858</c:v>
                </c:pt>
                <c:pt idx="269">
                  <c:v>859</c:v>
                </c:pt>
                <c:pt idx="270">
                  <c:v>859</c:v>
                </c:pt>
                <c:pt idx="271">
                  <c:v>860</c:v>
                </c:pt>
                <c:pt idx="272">
                  <c:v>861</c:v>
                </c:pt>
                <c:pt idx="273">
                  <c:v>861</c:v>
                </c:pt>
                <c:pt idx="274">
                  <c:v>862</c:v>
                </c:pt>
                <c:pt idx="275">
                  <c:v>862</c:v>
                </c:pt>
                <c:pt idx="276">
                  <c:v>862</c:v>
                </c:pt>
                <c:pt idx="277">
                  <c:v>863</c:v>
                </c:pt>
                <c:pt idx="278">
                  <c:v>863</c:v>
                </c:pt>
                <c:pt idx="279">
                  <c:v>864</c:v>
                </c:pt>
                <c:pt idx="280">
                  <c:v>865</c:v>
                </c:pt>
                <c:pt idx="281">
                  <c:v>865</c:v>
                </c:pt>
                <c:pt idx="282">
                  <c:v>867</c:v>
                </c:pt>
                <c:pt idx="283">
                  <c:v>868</c:v>
                </c:pt>
                <c:pt idx="284">
                  <c:v>870</c:v>
                </c:pt>
                <c:pt idx="285">
                  <c:v>873</c:v>
                </c:pt>
                <c:pt idx="286">
                  <c:v>874</c:v>
                </c:pt>
                <c:pt idx="287">
                  <c:v>877</c:v>
                </c:pt>
                <c:pt idx="288">
                  <c:v>880</c:v>
                </c:pt>
                <c:pt idx="289">
                  <c:v>884</c:v>
                </c:pt>
                <c:pt idx="290">
                  <c:v>885</c:v>
                </c:pt>
                <c:pt idx="291">
                  <c:v>887</c:v>
                </c:pt>
                <c:pt idx="292">
                  <c:v>887</c:v>
                </c:pt>
                <c:pt idx="293">
                  <c:v>888</c:v>
                </c:pt>
                <c:pt idx="294">
                  <c:v>888</c:v>
                </c:pt>
                <c:pt idx="295">
                  <c:v>888</c:v>
                </c:pt>
                <c:pt idx="296">
                  <c:v>888</c:v>
                </c:pt>
                <c:pt idx="297">
                  <c:v>888</c:v>
                </c:pt>
                <c:pt idx="298">
                  <c:v>888</c:v>
                </c:pt>
                <c:pt idx="299">
                  <c:v>889</c:v>
                </c:pt>
                <c:pt idx="300">
                  <c:v>889</c:v>
                </c:pt>
                <c:pt idx="301">
                  <c:v>890</c:v>
                </c:pt>
                <c:pt idx="302">
                  <c:v>890</c:v>
                </c:pt>
                <c:pt idx="303">
                  <c:v>890</c:v>
                </c:pt>
                <c:pt idx="304">
                  <c:v>891</c:v>
                </c:pt>
                <c:pt idx="305">
                  <c:v>892</c:v>
                </c:pt>
                <c:pt idx="306">
                  <c:v>893</c:v>
                </c:pt>
                <c:pt idx="307">
                  <c:v>895</c:v>
                </c:pt>
                <c:pt idx="308">
                  <c:v>897</c:v>
                </c:pt>
                <c:pt idx="309">
                  <c:v>899</c:v>
                </c:pt>
                <c:pt idx="310">
                  <c:v>901</c:v>
                </c:pt>
                <c:pt idx="311">
                  <c:v>904</c:v>
                </c:pt>
                <c:pt idx="312">
                  <c:v>907</c:v>
                </c:pt>
                <c:pt idx="313">
                  <c:v>910</c:v>
                </c:pt>
                <c:pt idx="314">
                  <c:v>912</c:v>
                </c:pt>
                <c:pt idx="315">
                  <c:v>912</c:v>
                </c:pt>
                <c:pt idx="316">
                  <c:v>912</c:v>
                </c:pt>
                <c:pt idx="317">
                  <c:v>912</c:v>
                </c:pt>
                <c:pt idx="318">
                  <c:v>912</c:v>
                </c:pt>
                <c:pt idx="319">
                  <c:v>911</c:v>
                </c:pt>
                <c:pt idx="320">
                  <c:v>911</c:v>
                </c:pt>
                <c:pt idx="321">
                  <c:v>911</c:v>
                </c:pt>
                <c:pt idx="322">
                  <c:v>911</c:v>
                </c:pt>
                <c:pt idx="323">
                  <c:v>911</c:v>
                </c:pt>
                <c:pt idx="324">
                  <c:v>911</c:v>
                </c:pt>
                <c:pt idx="325">
                  <c:v>911</c:v>
                </c:pt>
                <c:pt idx="326">
                  <c:v>911</c:v>
                </c:pt>
                <c:pt idx="327">
                  <c:v>911</c:v>
                </c:pt>
                <c:pt idx="328">
                  <c:v>911</c:v>
                </c:pt>
                <c:pt idx="329">
                  <c:v>910</c:v>
                </c:pt>
                <c:pt idx="330">
                  <c:v>911</c:v>
                </c:pt>
                <c:pt idx="331">
                  <c:v>913</c:v>
                </c:pt>
                <c:pt idx="332">
                  <c:v>914</c:v>
                </c:pt>
                <c:pt idx="333">
                  <c:v>91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228B-694F-B280-C1AC79C59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9191167"/>
        <c:axId val="1"/>
      </c:scatterChart>
      <c:valAx>
        <c:axId val="19919116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ime [days]</a:t>
                </a:r>
              </a:p>
            </c:rich>
          </c:tx>
          <c:overlay val="0"/>
          <c:spPr>
            <a:noFill/>
            <a:ln w="25400"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"/>
        <c:crosses val="autoZero"/>
        <c:crossBetween val="midCat"/>
      </c:val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ssure [hPa]</a:t>
                </a:r>
              </a:p>
            </c:rich>
          </c:tx>
          <c:overlay val="0"/>
          <c:spPr>
            <a:noFill/>
            <a:ln w="25400"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91167"/>
        <c:crosses val="autoZero"/>
        <c:crossBetween val="midCat"/>
      </c:valAx>
      <c:spPr>
        <a:noFill/>
        <a:ln w="25400">
          <a:noFill/>
        </a:ln>
        <a:effectLst/>
      </c:spPr>
    </c:plotArea>
    <c:legend>
      <c:legendPos val="r"/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prstDash val="solid"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
sewage sludge
cow manure un'!$D$3:$D$8</c:f>
              <c:strCache>
                <c:ptCount val="6"/>
                <c:pt idx="0">
                  <c:v>Fresh Sewage Sludge</c:v>
                </c:pt>
                <c:pt idx="1">
                  <c:v>Stored Sewage Sludge</c:v>
                </c:pt>
                <c:pt idx="2">
                  <c:v>Unscreened Cow Manure</c:v>
                </c:pt>
                <c:pt idx="3">
                  <c:v>Screened Cow Manure</c:v>
                </c:pt>
                <c:pt idx="4">
                  <c:v>Stirred Fermentation Residues</c:v>
                </c:pt>
                <c:pt idx="5">
                  <c:v>Unstirred Fermentation Residues</c:v>
                </c:pt>
              </c:strCache>
            </c:strRef>
          </c:cat>
          <c:val>
            <c:numRef>
              <c:f>'
sewage sludge
cow manure un'!$E$3:$E$8</c:f>
              <c:numCache>
                <c:formatCode>General</c:formatCode>
                <c:ptCount val="6"/>
                <c:pt idx="0">
                  <c:v>249.54668315946864</c:v>
                </c:pt>
                <c:pt idx="1">
                  <c:v>81.038876833318952</c:v>
                </c:pt>
                <c:pt idx="2">
                  <c:v>51.86063704174456</c:v>
                </c:pt>
                <c:pt idx="3">
                  <c:v>721.16819210054439</c:v>
                </c:pt>
                <c:pt idx="4">
                  <c:v>159.09050253353837</c:v>
                </c:pt>
                <c:pt idx="5">
                  <c:v>121.818030934075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59-794C-979B-6E7CD229604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
sewage sludge
cow manure un'!$D$3:$D$8</c:f>
              <c:strCache>
                <c:ptCount val="6"/>
                <c:pt idx="0">
                  <c:v>Fresh Sewage Sludge</c:v>
                </c:pt>
                <c:pt idx="1">
                  <c:v>Stored Sewage Sludge</c:v>
                </c:pt>
                <c:pt idx="2">
                  <c:v>Unscreened Cow Manure</c:v>
                </c:pt>
                <c:pt idx="3">
                  <c:v>Screened Cow Manure</c:v>
                </c:pt>
                <c:pt idx="4">
                  <c:v>Stirred Fermentation Residues</c:v>
                </c:pt>
                <c:pt idx="5">
                  <c:v>Unstirred Fermentation Residues</c:v>
                </c:pt>
              </c:strCache>
            </c:strRef>
          </c:cat>
          <c:val>
            <c:numRef>
              <c:f>'
sewage sludge
cow manure un'!$F$3:$F$8</c:f>
              <c:numCache>
                <c:formatCode>General</c:formatCode>
                <c:ptCount val="6"/>
                <c:pt idx="0">
                  <c:v>218.7424014414392</c:v>
                </c:pt>
                <c:pt idx="1">
                  <c:v>86.912196516397245</c:v>
                </c:pt>
                <c:pt idx="2">
                  <c:v>55.470309136996697</c:v>
                </c:pt>
                <c:pt idx="3">
                  <c:v>647.09011760758358</c:v>
                </c:pt>
                <c:pt idx="4">
                  <c:v>165.71418403792941</c:v>
                </c:pt>
                <c:pt idx="5">
                  <c:v>137.710404754238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59-794C-979B-6E7CD229604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
sewage sludge
cow manure un'!$D$3:$D$8</c:f>
              <c:strCache>
                <c:ptCount val="6"/>
                <c:pt idx="0">
                  <c:v>Fresh Sewage Sludge</c:v>
                </c:pt>
                <c:pt idx="1">
                  <c:v>Stored Sewage Sludge</c:v>
                </c:pt>
                <c:pt idx="2">
                  <c:v>Unscreened Cow Manure</c:v>
                </c:pt>
                <c:pt idx="3">
                  <c:v>Screened Cow Manure</c:v>
                </c:pt>
                <c:pt idx="4">
                  <c:v>Stirred Fermentation Residues</c:v>
                </c:pt>
                <c:pt idx="5">
                  <c:v>Unstirred Fermentation Residues</c:v>
                </c:pt>
              </c:strCache>
            </c:strRef>
          </c:cat>
          <c:val>
            <c:numRef>
              <c:f>'
sewage sludge
cow manure un'!$G$3:$G$8</c:f>
              <c:numCache>
                <c:formatCode>General</c:formatCode>
                <c:ptCount val="6"/>
                <c:pt idx="0">
                  <c:v>243.16523824269908</c:v>
                </c:pt>
                <c:pt idx="1">
                  <c:v>80.361240675748746</c:v>
                </c:pt>
                <c:pt idx="2">
                  <c:v>51.108776026863993</c:v>
                </c:pt>
                <c:pt idx="3">
                  <c:v>607.23780397264034</c:v>
                </c:pt>
                <c:pt idx="4">
                  <c:v>176.91895334436194</c:v>
                </c:pt>
                <c:pt idx="5">
                  <c:v>164.13235424735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59-794C-979B-6E7CD22960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79761104"/>
        <c:axId val="2089899120"/>
      </c:barChart>
      <c:catAx>
        <c:axId val="2079761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9899120"/>
        <c:crosses val="autoZero"/>
        <c:auto val="1"/>
        <c:lblAlgn val="ctr"/>
        <c:lblOffset val="100"/>
        <c:noMultiLvlLbl val="0"/>
      </c:catAx>
      <c:valAx>
        <c:axId val="2089899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>
                    <a:solidFill>
                      <a:schemeClr val="bg2">
                        <a:lumMod val="10000"/>
                      </a:schemeClr>
                    </a:solidFill>
                  </a:rPr>
                  <a:t>NL/kg </a:t>
                </a:r>
                <a:r>
                  <a:rPr lang="en-US" dirty="0" err="1">
                    <a:solidFill>
                      <a:schemeClr val="bg2">
                        <a:lumMod val="10000"/>
                      </a:schemeClr>
                    </a:solidFill>
                  </a:rPr>
                  <a:t>oTS</a:t>
                </a:r>
                <a:endParaRPr lang="en-US" dirty="0">
                  <a:solidFill>
                    <a:schemeClr val="bg2">
                      <a:lumMod val="10000"/>
                    </a:schemeClr>
                  </a:solidFill>
                </a:endParaRPr>
              </a:p>
            </c:rich>
          </c:tx>
          <c:layout>
            <c:manualLayout>
              <c:xMode val="edge"/>
              <c:yMode val="edge"/>
              <c:x val="8.4175084175084174E-3"/>
              <c:y val="0.382213400389002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bg2">
                      <a:lumMod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9761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parison of</a:t>
            </a:r>
            <a:r>
              <a:rPr lang="en-US" baseline="0" dirty="0"/>
              <a:t> Averagely Produced Biogas Volume for Each Inoculum and Condition</a:t>
            </a:r>
            <a:endParaRPr lang="en-US" dirty="0"/>
          </a:p>
        </c:rich>
      </c:tx>
      <c:layout>
        <c:manualLayout>
          <c:xMode val="edge"/>
          <c:yMode val="edge"/>
          <c:x val="0.1048060086969542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9325103893466012E-2"/>
          <c:y val="0.11679753836875267"/>
          <c:w val="0.58299038234871137"/>
          <c:h val="0.8485584935007221"/>
        </c:manualLayout>
      </c:layout>
      <c:barChart>
        <c:barDir val="col"/>
        <c:grouping val="clustered"/>
        <c:varyColors val="0"/>
        <c:ser>
          <c:idx val="0"/>
          <c:order val="0"/>
          <c:tx>
            <c:v>Fresh Sewage Sludge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val>
            <c:numRef>
              <c:f>'pillar diagram volumes'!$C$3</c:f>
              <c:numCache>
                <c:formatCode>General</c:formatCode>
                <c:ptCount val="1"/>
                <c:pt idx="0">
                  <c:v>0.626602626337943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14-A54A-94F2-43B386E4A01C}"/>
            </c:ext>
          </c:extLst>
        </c:ser>
        <c:ser>
          <c:idx val="1"/>
          <c:order val="1"/>
          <c:tx>
            <c:v>Stored Sewage Sludge</c:v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val>
            <c:numRef>
              <c:f>'pillar diagram volumes'!$C$18</c:f>
              <c:numCache>
                <c:formatCode>General</c:formatCode>
                <c:ptCount val="1"/>
                <c:pt idx="0">
                  <c:v>0.24516122128365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14-A54A-94F2-43B386E4A01C}"/>
            </c:ext>
          </c:extLst>
        </c:ser>
        <c:ser>
          <c:idx val="2"/>
          <c:order val="2"/>
          <c:tx>
            <c:v>Unscreened Cow Manure</c:v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val>
            <c:numRef>
              <c:f>'pillar diagram volumes'!$C$6</c:f>
              <c:numCache>
                <c:formatCode>General</c:formatCode>
                <c:ptCount val="1"/>
                <c:pt idx="0">
                  <c:v>0.334290568215229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14-A54A-94F2-43B386E4A01C}"/>
            </c:ext>
          </c:extLst>
        </c:ser>
        <c:ser>
          <c:idx val="3"/>
          <c:order val="3"/>
          <c:tx>
            <c:v>Screened Cow Manure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'pillar diagram volumes'!$C$9</c:f>
              <c:numCache>
                <c:formatCode>General</c:formatCode>
                <c:ptCount val="1"/>
                <c:pt idx="0">
                  <c:v>1.20221060396018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514-A54A-94F2-43B386E4A01C}"/>
            </c:ext>
          </c:extLst>
        </c:ser>
        <c:ser>
          <c:idx val="4"/>
          <c:order val="4"/>
          <c:tx>
            <c:v>Stirred Fermentation Residues</c:v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val>
            <c:numRef>
              <c:f>'pillar diagram volumes'!$C$12</c:f>
              <c:numCache>
                <c:formatCode>General</c:formatCode>
                <c:ptCount val="1"/>
                <c:pt idx="0">
                  <c:v>0.9844091278065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14-A54A-94F2-43B386E4A01C}"/>
            </c:ext>
          </c:extLst>
        </c:ser>
        <c:ser>
          <c:idx val="5"/>
          <c:order val="5"/>
          <c:tx>
            <c:v>Unstirred Fermentation Residues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val>
            <c:numRef>
              <c:f>'pillar diagram volumes'!$C$15</c:f>
              <c:numCache>
                <c:formatCode>General</c:formatCode>
                <c:ptCount val="1"/>
                <c:pt idx="0">
                  <c:v>0.889991131508396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514-A54A-94F2-43B386E4A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21573600"/>
        <c:axId val="1217934272"/>
      </c:barChart>
      <c:catAx>
        <c:axId val="1221573600"/>
        <c:scaling>
          <c:orientation val="minMax"/>
        </c:scaling>
        <c:delete val="1"/>
        <c:axPos val="b"/>
        <c:majorTickMark val="none"/>
        <c:minorTickMark val="none"/>
        <c:tickLblPos val="nextTo"/>
        <c:crossAx val="1217934272"/>
        <c:crosses val="autoZero"/>
        <c:auto val="1"/>
        <c:lblAlgn val="ctr"/>
        <c:lblOffset val="100"/>
        <c:noMultiLvlLbl val="0"/>
      </c:catAx>
      <c:valAx>
        <c:axId val="1217934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volume [L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1573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9302746227143808"/>
          <c:y val="0.24976664299204848"/>
          <c:w val="0.2956750962580561"/>
          <c:h val="0.696000543590394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rgbClr val="D9D9D9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parison of </a:t>
            </a:r>
            <a:r>
              <a:rPr lang="en-US" baseline="0" dirty="0"/>
              <a:t>Three Samples with Stored Sewage Sludge</a:t>
            </a:r>
            <a:endParaRPr lang="en-US" dirty="0"/>
          </a:p>
        </c:rich>
      </c:tx>
      <c:overlay val="0"/>
      <c:spPr>
        <a:noFill/>
        <a:ln w="25400">
          <a:noFill/>
        </a:ln>
      </c:spPr>
    </c:title>
    <c:autoTitleDeleted val="0"/>
    <c:plotArea>
      <c:layout/>
      <c:scatterChart>
        <c:scatterStyle val="smoothMarker"/>
        <c:varyColors val="0"/>
        <c:ser>
          <c:idx val="2"/>
          <c:order val="0"/>
          <c:tx>
            <c:v>1</c:v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xVal>
            <c:numRef>
              <c:f>'1 Stored sludge'!$D$20:$D$352</c:f>
              <c:numCache>
                <c:formatCode>0</c:formatCode>
                <c:ptCount val="333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</c:numCache>
            </c:numRef>
          </c:xVal>
          <c:yVal>
            <c:numRef>
              <c:f>'1 Stored sludge'!$E$20:$E$352</c:f>
              <c:numCache>
                <c:formatCode>General</c:formatCode>
                <c:ptCount val="333"/>
                <c:pt idx="0">
                  <c:v>0</c:v>
                </c:pt>
                <c:pt idx="1">
                  <c:v>66</c:v>
                </c:pt>
                <c:pt idx="2">
                  <c:v>84</c:v>
                </c:pt>
                <c:pt idx="3">
                  <c:v>95</c:v>
                </c:pt>
                <c:pt idx="4">
                  <c:v>103</c:v>
                </c:pt>
                <c:pt idx="5">
                  <c:v>108</c:v>
                </c:pt>
                <c:pt idx="6">
                  <c:v>111</c:v>
                </c:pt>
                <c:pt idx="7">
                  <c:v>113</c:v>
                </c:pt>
                <c:pt idx="8">
                  <c:v>114</c:v>
                </c:pt>
                <c:pt idx="9">
                  <c:v>114</c:v>
                </c:pt>
                <c:pt idx="10">
                  <c:v>115</c:v>
                </c:pt>
                <c:pt idx="11">
                  <c:v>116</c:v>
                </c:pt>
                <c:pt idx="12">
                  <c:v>116</c:v>
                </c:pt>
                <c:pt idx="13">
                  <c:v>117</c:v>
                </c:pt>
                <c:pt idx="14">
                  <c:v>117</c:v>
                </c:pt>
                <c:pt idx="15">
                  <c:v>118</c:v>
                </c:pt>
                <c:pt idx="16">
                  <c:v>118</c:v>
                </c:pt>
                <c:pt idx="17">
                  <c:v>119</c:v>
                </c:pt>
                <c:pt idx="18">
                  <c:v>120</c:v>
                </c:pt>
                <c:pt idx="19">
                  <c:v>120</c:v>
                </c:pt>
                <c:pt idx="20">
                  <c:v>121</c:v>
                </c:pt>
                <c:pt idx="21">
                  <c:v>122</c:v>
                </c:pt>
                <c:pt idx="22">
                  <c:v>119</c:v>
                </c:pt>
                <c:pt idx="23">
                  <c:v>125</c:v>
                </c:pt>
                <c:pt idx="24">
                  <c:v>130</c:v>
                </c:pt>
                <c:pt idx="25">
                  <c:v>135</c:v>
                </c:pt>
                <c:pt idx="26">
                  <c:v>139</c:v>
                </c:pt>
                <c:pt idx="27">
                  <c:v>142</c:v>
                </c:pt>
                <c:pt idx="28">
                  <c:v>146</c:v>
                </c:pt>
                <c:pt idx="29">
                  <c:v>150</c:v>
                </c:pt>
                <c:pt idx="30">
                  <c:v>152</c:v>
                </c:pt>
                <c:pt idx="31">
                  <c:v>155</c:v>
                </c:pt>
                <c:pt idx="32">
                  <c:v>157</c:v>
                </c:pt>
                <c:pt idx="33">
                  <c:v>158</c:v>
                </c:pt>
                <c:pt idx="34">
                  <c:v>159</c:v>
                </c:pt>
                <c:pt idx="35">
                  <c:v>161</c:v>
                </c:pt>
                <c:pt idx="36">
                  <c:v>161</c:v>
                </c:pt>
                <c:pt idx="37">
                  <c:v>162</c:v>
                </c:pt>
                <c:pt idx="38">
                  <c:v>163</c:v>
                </c:pt>
                <c:pt idx="39">
                  <c:v>164</c:v>
                </c:pt>
                <c:pt idx="40">
                  <c:v>164</c:v>
                </c:pt>
                <c:pt idx="41">
                  <c:v>165</c:v>
                </c:pt>
                <c:pt idx="42">
                  <c:v>166</c:v>
                </c:pt>
                <c:pt idx="43">
                  <c:v>166</c:v>
                </c:pt>
                <c:pt idx="44">
                  <c:v>167</c:v>
                </c:pt>
                <c:pt idx="45">
                  <c:v>169</c:v>
                </c:pt>
                <c:pt idx="46">
                  <c:v>170</c:v>
                </c:pt>
                <c:pt idx="47">
                  <c:v>169</c:v>
                </c:pt>
                <c:pt idx="48">
                  <c:v>173</c:v>
                </c:pt>
                <c:pt idx="49">
                  <c:v>176</c:v>
                </c:pt>
                <c:pt idx="50">
                  <c:v>179</c:v>
                </c:pt>
                <c:pt idx="51">
                  <c:v>180</c:v>
                </c:pt>
                <c:pt idx="52">
                  <c:v>182</c:v>
                </c:pt>
                <c:pt idx="53">
                  <c:v>183</c:v>
                </c:pt>
                <c:pt idx="54">
                  <c:v>184</c:v>
                </c:pt>
                <c:pt idx="55">
                  <c:v>185</c:v>
                </c:pt>
                <c:pt idx="56">
                  <c:v>184</c:v>
                </c:pt>
                <c:pt idx="57">
                  <c:v>185</c:v>
                </c:pt>
                <c:pt idx="58">
                  <c:v>186</c:v>
                </c:pt>
                <c:pt idx="59">
                  <c:v>186</c:v>
                </c:pt>
                <c:pt idx="60">
                  <c:v>186</c:v>
                </c:pt>
                <c:pt idx="61">
                  <c:v>187</c:v>
                </c:pt>
                <c:pt idx="62">
                  <c:v>187</c:v>
                </c:pt>
                <c:pt idx="63">
                  <c:v>188</c:v>
                </c:pt>
                <c:pt idx="64">
                  <c:v>189</c:v>
                </c:pt>
                <c:pt idx="65">
                  <c:v>189</c:v>
                </c:pt>
                <c:pt idx="66">
                  <c:v>190</c:v>
                </c:pt>
                <c:pt idx="67">
                  <c:v>191</c:v>
                </c:pt>
                <c:pt idx="68">
                  <c:v>192</c:v>
                </c:pt>
                <c:pt idx="69">
                  <c:v>193</c:v>
                </c:pt>
                <c:pt idx="70">
                  <c:v>218</c:v>
                </c:pt>
                <c:pt idx="71">
                  <c:v>225</c:v>
                </c:pt>
                <c:pt idx="72">
                  <c:v>230</c:v>
                </c:pt>
                <c:pt idx="73">
                  <c:v>236</c:v>
                </c:pt>
                <c:pt idx="74">
                  <c:v>240</c:v>
                </c:pt>
                <c:pt idx="75">
                  <c:v>244</c:v>
                </c:pt>
                <c:pt idx="76">
                  <c:v>248</c:v>
                </c:pt>
                <c:pt idx="77">
                  <c:v>251</c:v>
                </c:pt>
                <c:pt idx="78">
                  <c:v>253</c:v>
                </c:pt>
                <c:pt idx="79">
                  <c:v>255</c:v>
                </c:pt>
                <c:pt idx="80">
                  <c:v>259</c:v>
                </c:pt>
                <c:pt idx="81">
                  <c:v>260</c:v>
                </c:pt>
                <c:pt idx="82">
                  <c:v>261</c:v>
                </c:pt>
                <c:pt idx="83">
                  <c:v>263</c:v>
                </c:pt>
                <c:pt idx="84">
                  <c:v>264</c:v>
                </c:pt>
                <c:pt idx="85">
                  <c:v>265</c:v>
                </c:pt>
                <c:pt idx="86">
                  <c:v>265</c:v>
                </c:pt>
                <c:pt idx="87">
                  <c:v>266</c:v>
                </c:pt>
                <c:pt idx="88">
                  <c:v>267</c:v>
                </c:pt>
                <c:pt idx="89">
                  <c:v>268</c:v>
                </c:pt>
                <c:pt idx="90">
                  <c:v>269</c:v>
                </c:pt>
                <c:pt idx="91">
                  <c:v>270</c:v>
                </c:pt>
                <c:pt idx="92">
                  <c:v>271</c:v>
                </c:pt>
                <c:pt idx="93">
                  <c:v>273</c:v>
                </c:pt>
                <c:pt idx="94">
                  <c:v>274</c:v>
                </c:pt>
                <c:pt idx="95">
                  <c:v>276</c:v>
                </c:pt>
                <c:pt idx="96">
                  <c:v>279</c:v>
                </c:pt>
                <c:pt idx="97">
                  <c:v>281</c:v>
                </c:pt>
                <c:pt idx="98">
                  <c:v>283</c:v>
                </c:pt>
                <c:pt idx="99">
                  <c:v>285</c:v>
                </c:pt>
                <c:pt idx="100">
                  <c:v>287</c:v>
                </c:pt>
                <c:pt idx="101">
                  <c:v>288</c:v>
                </c:pt>
                <c:pt idx="102">
                  <c:v>289</c:v>
                </c:pt>
                <c:pt idx="103">
                  <c:v>290</c:v>
                </c:pt>
                <c:pt idx="104">
                  <c:v>290</c:v>
                </c:pt>
                <c:pt idx="105">
                  <c:v>291</c:v>
                </c:pt>
                <c:pt idx="106">
                  <c:v>292</c:v>
                </c:pt>
                <c:pt idx="107">
                  <c:v>292</c:v>
                </c:pt>
                <c:pt idx="108">
                  <c:v>293</c:v>
                </c:pt>
                <c:pt idx="109">
                  <c:v>293</c:v>
                </c:pt>
                <c:pt idx="110">
                  <c:v>293</c:v>
                </c:pt>
                <c:pt idx="111">
                  <c:v>294</c:v>
                </c:pt>
                <c:pt idx="112">
                  <c:v>295</c:v>
                </c:pt>
                <c:pt idx="113">
                  <c:v>295</c:v>
                </c:pt>
                <c:pt idx="114">
                  <c:v>296</c:v>
                </c:pt>
                <c:pt idx="115">
                  <c:v>297</c:v>
                </c:pt>
                <c:pt idx="116">
                  <c:v>299</c:v>
                </c:pt>
                <c:pt idx="117">
                  <c:v>300</c:v>
                </c:pt>
                <c:pt idx="118">
                  <c:v>302</c:v>
                </c:pt>
                <c:pt idx="119">
                  <c:v>304</c:v>
                </c:pt>
                <c:pt idx="120">
                  <c:v>305</c:v>
                </c:pt>
                <c:pt idx="121">
                  <c:v>307</c:v>
                </c:pt>
                <c:pt idx="122">
                  <c:v>309</c:v>
                </c:pt>
                <c:pt idx="123">
                  <c:v>311</c:v>
                </c:pt>
                <c:pt idx="124">
                  <c:v>313</c:v>
                </c:pt>
                <c:pt idx="125">
                  <c:v>314</c:v>
                </c:pt>
                <c:pt idx="126">
                  <c:v>315</c:v>
                </c:pt>
                <c:pt idx="127">
                  <c:v>316</c:v>
                </c:pt>
                <c:pt idx="128">
                  <c:v>317</c:v>
                </c:pt>
                <c:pt idx="129">
                  <c:v>317</c:v>
                </c:pt>
                <c:pt idx="130">
                  <c:v>317</c:v>
                </c:pt>
                <c:pt idx="131">
                  <c:v>318</c:v>
                </c:pt>
                <c:pt idx="132">
                  <c:v>318</c:v>
                </c:pt>
                <c:pt idx="133">
                  <c:v>318</c:v>
                </c:pt>
                <c:pt idx="134">
                  <c:v>319</c:v>
                </c:pt>
                <c:pt idx="135">
                  <c:v>320</c:v>
                </c:pt>
                <c:pt idx="136">
                  <c:v>320</c:v>
                </c:pt>
                <c:pt idx="137">
                  <c:v>321</c:v>
                </c:pt>
                <c:pt idx="138">
                  <c:v>321</c:v>
                </c:pt>
                <c:pt idx="139">
                  <c:v>322</c:v>
                </c:pt>
                <c:pt idx="140">
                  <c:v>323</c:v>
                </c:pt>
                <c:pt idx="141">
                  <c:v>325</c:v>
                </c:pt>
                <c:pt idx="142">
                  <c:v>326</c:v>
                </c:pt>
                <c:pt idx="143">
                  <c:v>328</c:v>
                </c:pt>
                <c:pt idx="144">
                  <c:v>329</c:v>
                </c:pt>
                <c:pt idx="145">
                  <c:v>330</c:v>
                </c:pt>
                <c:pt idx="146">
                  <c:v>331</c:v>
                </c:pt>
                <c:pt idx="147">
                  <c:v>331</c:v>
                </c:pt>
                <c:pt idx="148">
                  <c:v>331</c:v>
                </c:pt>
                <c:pt idx="149">
                  <c:v>332</c:v>
                </c:pt>
                <c:pt idx="150">
                  <c:v>333</c:v>
                </c:pt>
                <c:pt idx="151">
                  <c:v>333</c:v>
                </c:pt>
                <c:pt idx="152">
                  <c:v>333</c:v>
                </c:pt>
                <c:pt idx="153">
                  <c:v>333</c:v>
                </c:pt>
                <c:pt idx="154">
                  <c:v>334</c:v>
                </c:pt>
                <c:pt idx="155">
                  <c:v>333</c:v>
                </c:pt>
                <c:pt idx="156">
                  <c:v>334</c:v>
                </c:pt>
                <c:pt idx="157">
                  <c:v>335</c:v>
                </c:pt>
                <c:pt idx="158">
                  <c:v>335</c:v>
                </c:pt>
                <c:pt idx="159">
                  <c:v>335</c:v>
                </c:pt>
                <c:pt idx="160">
                  <c:v>335</c:v>
                </c:pt>
                <c:pt idx="161">
                  <c:v>335</c:v>
                </c:pt>
                <c:pt idx="162">
                  <c:v>336</c:v>
                </c:pt>
                <c:pt idx="163">
                  <c:v>336</c:v>
                </c:pt>
                <c:pt idx="164">
                  <c:v>336</c:v>
                </c:pt>
                <c:pt idx="165">
                  <c:v>337</c:v>
                </c:pt>
                <c:pt idx="166">
                  <c:v>337</c:v>
                </c:pt>
                <c:pt idx="167">
                  <c:v>333</c:v>
                </c:pt>
                <c:pt idx="168">
                  <c:v>335</c:v>
                </c:pt>
                <c:pt idx="169">
                  <c:v>337</c:v>
                </c:pt>
                <c:pt idx="170">
                  <c:v>339</c:v>
                </c:pt>
                <c:pt idx="171">
                  <c:v>341</c:v>
                </c:pt>
                <c:pt idx="172">
                  <c:v>342</c:v>
                </c:pt>
                <c:pt idx="173">
                  <c:v>343</c:v>
                </c:pt>
                <c:pt idx="174">
                  <c:v>343</c:v>
                </c:pt>
                <c:pt idx="175">
                  <c:v>343</c:v>
                </c:pt>
                <c:pt idx="176">
                  <c:v>344</c:v>
                </c:pt>
                <c:pt idx="177">
                  <c:v>344</c:v>
                </c:pt>
                <c:pt idx="178">
                  <c:v>344</c:v>
                </c:pt>
                <c:pt idx="179">
                  <c:v>344</c:v>
                </c:pt>
                <c:pt idx="180">
                  <c:v>344</c:v>
                </c:pt>
                <c:pt idx="181">
                  <c:v>344</c:v>
                </c:pt>
                <c:pt idx="182">
                  <c:v>344</c:v>
                </c:pt>
                <c:pt idx="183">
                  <c:v>343</c:v>
                </c:pt>
                <c:pt idx="184">
                  <c:v>344</c:v>
                </c:pt>
                <c:pt idx="185">
                  <c:v>344</c:v>
                </c:pt>
                <c:pt idx="186">
                  <c:v>344</c:v>
                </c:pt>
                <c:pt idx="187">
                  <c:v>344</c:v>
                </c:pt>
                <c:pt idx="188">
                  <c:v>344</c:v>
                </c:pt>
                <c:pt idx="189">
                  <c:v>346</c:v>
                </c:pt>
                <c:pt idx="190">
                  <c:v>348</c:v>
                </c:pt>
                <c:pt idx="191">
                  <c:v>350</c:v>
                </c:pt>
                <c:pt idx="192">
                  <c:v>350</c:v>
                </c:pt>
                <c:pt idx="193">
                  <c:v>351</c:v>
                </c:pt>
                <c:pt idx="194">
                  <c:v>353</c:v>
                </c:pt>
                <c:pt idx="195">
                  <c:v>354</c:v>
                </c:pt>
                <c:pt idx="196">
                  <c:v>354</c:v>
                </c:pt>
                <c:pt idx="197">
                  <c:v>355</c:v>
                </c:pt>
                <c:pt idx="198">
                  <c:v>356</c:v>
                </c:pt>
                <c:pt idx="199">
                  <c:v>356</c:v>
                </c:pt>
                <c:pt idx="200">
                  <c:v>357</c:v>
                </c:pt>
                <c:pt idx="201">
                  <c:v>357</c:v>
                </c:pt>
                <c:pt idx="202">
                  <c:v>357</c:v>
                </c:pt>
                <c:pt idx="203">
                  <c:v>357</c:v>
                </c:pt>
                <c:pt idx="204">
                  <c:v>357</c:v>
                </c:pt>
                <c:pt idx="205">
                  <c:v>357</c:v>
                </c:pt>
                <c:pt idx="206">
                  <c:v>357</c:v>
                </c:pt>
                <c:pt idx="207">
                  <c:v>357</c:v>
                </c:pt>
                <c:pt idx="208">
                  <c:v>358</c:v>
                </c:pt>
                <c:pt idx="209">
                  <c:v>358</c:v>
                </c:pt>
                <c:pt idx="210">
                  <c:v>357</c:v>
                </c:pt>
                <c:pt idx="211">
                  <c:v>357</c:v>
                </c:pt>
                <c:pt idx="212">
                  <c:v>357</c:v>
                </c:pt>
                <c:pt idx="213">
                  <c:v>358</c:v>
                </c:pt>
                <c:pt idx="214">
                  <c:v>358</c:v>
                </c:pt>
                <c:pt idx="215">
                  <c:v>356</c:v>
                </c:pt>
                <c:pt idx="216">
                  <c:v>357</c:v>
                </c:pt>
                <c:pt idx="217">
                  <c:v>357</c:v>
                </c:pt>
                <c:pt idx="218">
                  <c:v>356</c:v>
                </c:pt>
                <c:pt idx="219">
                  <c:v>354</c:v>
                </c:pt>
                <c:pt idx="220">
                  <c:v>355</c:v>
                </c:pt>
                <c:pt idx="221">
                  <c:v>355</c:v>
                </c:pt>
                <c:pt idx="222">
                  <c:v>355</c:v>
                </c:pt>
                <c:pt idx="223">
                  <c:v>356</c:v>
                </c:pt>
                <c:pt idx="224">
                  <c:v>357</c:v>
                </c:pt>
                <c:pt idx="225">
                  <c:v>357</c:v>
                </c:pt>
                <c:pt idx="226">
                  <c:v>358</c:v>
                </c:pt>
                <c:pt idx="227">
                  <c:v>358</c:v>
                </c:pt>
                <c:pt idx="228">
                  <c:v>359</c:v>
                </c:pt>
                <c:pt idx="229">
                  <c:v>359</c:v>
                </c:pt>
                <c:pt idx="230">
                  <c:v>359</c:v>
                </c:pt>
                <c:pt idx="231">
                  <c:v>360</c:v>
                </c:pt>
                <c:pt idx="232">
                  <c:v>360</c:v>
                </c:pt>
                <c:pt idx="233">
                  <c:v>360</c:v>
                </c:pt>
                <c:pt idx="234">
                  <c:v>360</c:v>
                </c:pt>
                <c:pt idx="235">
                  <c:v>362</c:v>
                </c:pt>
                <c:pt idx="236">
                  <c:v>360</c:v>
                </c:pt>
                <c:pt idx="237">
                  <c:v>362</c:v>
                </c:pt>
                <c:pt idx="238">
                  <c:v>363</c:v>
                </c:pt>
                <c:pt idx="239">
                  <c:v>365</c:v>
                </c:pt>
                <c:pt idx="240">
                  <c:v>366</c:v>
                </c:pt>
                <c:pt idx="241">
                  <c:v>367</c:v>
                </c:pt>
                <c:pt idx="242">
                  <c:v>369</c:v>
                </c:pt>
                <c:pt idx="243">
                  <c:v>370</c:v>
                </c:pt>
                <c:pt idx="244">
                  <c:v>371</c:v>
                </c:pt>
                <c:pt idx="245">
                  <c:v>372</c:v>
                </c:pt>
                <c:pt idx="246">
                  <c:v>372</c:v>
                </c:pt>
                <c:pt idx="247">
                  <c:v>372</c:v>
                </c:pt>
                <c:pt idx="248">
                  <c:v>373</c:v>
                </c:pt>
                <c:pt idx="249">
                  <c:v>372</c:v>
                </c:pt>
                <c:pt idx="250">
                  <c:v>372</c:v>
                </c:pt>
                <c:pt idx="251">
                  <c:v>372</c:v>
                </c:pt>
                <c:pt idx="252">
                  <c:v>373</c:v>
                </c:pt>
                <c:pt idx="253">
                  <c:v>372</c:v>
                </c:pt>
                <c:pt idx="254">
                  <c:v>372</c:v>
                </c:pt>
                <c:pt idx="255">
                  <c:v>372</c:v>
                </c:pt>
                <c:pt idx="256">
                  <c:v>373</c:v>
                </c:pt>
                <c:pt idx="257">
                  <c:v>373</c:v>
                </c:pt>
                <c:pt idx="258">
                  <c:v>373</c:v>
                </c:pt>
                <c:pt idx="259">
                  <c:v>373</c:v>
                </c:pt>
                <c:pt idx="260">
                  <c:v>373</c:v>
                </c:pt>
                <c:pt idx="261">
                  <c:v>375</c:v>
                </c:pt>
                <c:pt idx="262">
                  <c:v>376</c:v>
                </c:pt>
                <c:pt idx="263">
                  <c:v>377</c:v>
                </c:pt>
                <c:pt idx="264">
                  <c:v>377</c:v>
                </c:pt>
                <c:pt idx="265">
                  <c:v>378</c:v>
                </c:pt>
                <c:pt idx="266">
                  <c:v>380</c:v>
                </c:pt>
                <c:pt idx="267">
                  <c:v>382</c:v>
                </c:pt>
                <c:pt idx="268">
                  <c:v>383</c:v>
                </c:pt>
                <c:pt idx="269">
                  <c:v>383</c:v>
                </c:pt>
                <c:pt idx="270">
                  <c:v>384</c:v>
                </c:pt>
                <c:pt idx="271">
                  <c:v>385</c:v>
                </c:pt>
                <c:pt idx="272">
                  <c:v>385</c:v>
                </c:pt>
                <c:pt idx="273">
                  <c:v>385</c:v>
                </c:pt>
                <c:pt idx="274">
                  <c:v>386</c:v>
                </c:pt>
                <c:pt idx="275">
                  <c:v>386</c:v>
                </c:pt>
                <c:pt idx="276">
                  <c:v>386</c:v>
                </c:pt>
                <c:pt idx="277">
                  <c:v>387</c:v>
                </c:pt>
                <c:pt idx="278">
                  <c:v>387</c:v>
                </c:pt>
                <c:pt idx="279">
                  <c:v>387</c:v>
                </c:pt>
                <c:pt idx="280">
                  <c:v>387</c:v>
                </c:pt>
                <c:pt idx="281">
                  <c:v>388</c:v>
                </c:pt>
                <c:pt idx="282">
                  <c:v>388</c:v>
                </c:pt>
                <c:pt idx="283">
                  <c:v>389</c:v>
                </c:pt>
                <c:pt idx="284">
                  <c:v>389</c:v>
                </c:pt>
                <c:pt idx="285">
                  <c:v>390</c:v>
                </c:pt>
                <c:pt idx="286">
                  <c:v>392</c:v>
                </c:pt>
                <c:pt idx="287">
                  <c:v>393</c:v>
                </c:pt>
                <c:pt idx="288">
                  <c:v>394</c:v>
                </c:pt>
                <c:pt idx="289">
                  <c:v>395</c:v>
                </c:pt>
                <c:pt idx="290">
                  <c:v>396</c:v>
                </c:pt>
                <c:pt idx="291">
                  <c:v>397</c:v>
                </c:pt>
                <c:pt idx="292">
                  <c:v>397</c:v>
                </c:pt>
                <c:pt idx="293">
                  <c:v>398</c:v>
                </c:pt>
                <c:pt idx="294">
                  <c:v>399</c:v>
                </c:pt>
                <c:pt idx="295">
                  <c:v>399</c:v>
                </c:pt>
                <c:pt idx="296">
                  <c:v>399</c:v>
                </c:pt>
                <c:pt idx="297">
                  <c:v>400</c:v>
                </c:pt>
                <c:pt idx="298">
                  <c:v>399</c:v>
                </c:pt>
                <c:pt idx="299">
                  <c:v>399</c:v>
                </c:pt>
                <c:pt idx="300">
                  <c:v>400</c:v>
                </c:pt>
                <c:pt idx="301">
                  <c:v>400</c:v>
                </c:pt>
                <c:pt idx="302">
                  <c:v>400</c:v>
                </c:pt>
                <c:pt idx="303">
                  <c:v>400</c:v>
                </c:pt>
                <c:pt idx="304">
                  <c:v>400</c:v>
                </c:pt>
                <c:pt idx="305">
                  <c:v>401</c:v>
                </c:pt>
                <c:pt idx="306">
                  <c:v>400</c:v>
                </c:pt>
                <c:pt idx="307">
                  <c:v>401</c:v>
                </c:pt>
                <c:pt idx="308">
                  <c:v>402</c:v>
                </c:pt>
                <c:pt idx="309">
                  <c:v>403</c:v>
                </c:pt>
                <c:pt idx="310">
                  <c:v>404</c:v>
                </c:pt>
                <c:pt idx="311">
                  <c:v>405</c:v>
                </c:pt>
                <c:pt idx="312">
                  <c:v>407</c:v>
                </c:pt>
                <c:pt idx="313">
                  <c:v>408</c:v>
                </c:pt>
                <c:pt idx="314">
                  <c:v>409</c:v>
                </c:pt>
                <c:pt idx="315">
                  <c:v>410</c:v>
                </c:pt>
                <c:pt idx="316">
                  <c:v>411</c:v>
                </c:pt>
                <c:pt idx="317">
                  <c:v>412</c:v>
                </c:pt>
                <c:pt idx="318">
                  <c:v>412</c:v>
                </c:pt>
                <c:pt idx="319">
                  <c:v>412</c:v>
                </c:pt>
                <c:pt idx="320">
                  <c:v>412</c:v>
                </c:pt>
                <c:pt idx="321">
                  <c:v>411</c:v>
                </c:pt>
                <c:pt idx="322">
                  <c:v>412</c:v>
                </c:pt>
                <c:pt idx="323">
                  <c:v>412</c:v>
                </c:pt>
                <c:pt idx="324">
                  <c:v>411</c:v>
                </c:pt>
                <c:pt idx="325">
                  <c:v>411</c:v>
                </c:pt>
                <c:pt idx="326">
                  <c:v>411</c:v>
                </c:pt>
                <c:pt idx="327">
                  <c:v>411</c:v>
                </c:pt>
                <c:pt idx="328">
                  <c:v>411</c:v>
                </c:pt>
                <c:pt idx="329">
                  <c:v>411</c:v>
                </c:pt>
                <c:pt idx="330">
                  <c:v>412</c:v>
                </c:pt>
                <c:pt idx="331">
                  <c:v>412</c:v>
                </c:pt>
                <c:pt idx="332">
                  <c:v>41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D311-BB4F-A1CF-2318CF941BD8}"/>
            </c:ext>
          </c:extLst>
        </c:ser>
        <c:ser>
          <c:idx val="0"/>
          <c:order val="1"/>
          <c:tx>
            <c:v>3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'3 Stored sludge'!$D$20:$D$352</c:f>
              <c:numCache>
                <c:formatCode>0</c:formatCode>
                <c:ptCount val="333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</c:numCache>
            </c:numRef>
          </c:xVal>
          <c:yVal>
            <c:numRef>
              <c:f>'3 Stored sludge'!$E$20:$E$352</c:f>
              <c:numCache>
                <c:formatCode>General</c:formatCode>
                <c:ptCount val="333"/>
                <c:pt idx="0">
                  <c:v>0</c:v>
                </c:pt>
                <c:pt idx="1">
                  <c:v>70</c:v>
                </c:pt>
                <c:pt idx="2">
                  <c:v>89</c:v>
                </c:pt>
                <c:pt idx="3">
                  <c:v>102</c:v>
                </c:pt>
                <c:pt idx="4">
                  <c:v>112</c:v>
                </c:pt>
                <c:pt idx="5">
                  <c:v>118</c:v>
                </c:pt>
                <c:pt idx="6">
                  <c:v>121</c:v>
                </c:pt>
                <c:pt idx="7">
                  <c:v>123</c:v>
                </c:pt>
                <c:pt idx="8">
                  <c:v>125</c:v>
                </c:pt>
                <c:pt idx="9">
                  <c:v>126</c:v>
                </c:pt>
                <c:pt idx="10">
                  <c:v>126</c:v>
                </c:pt>
                <c:pt idx="11">
                  <c:v>127</c:v>
                </c:pt>
                <c:pt idx="12">
                  <c:v>128</c:v>
                </c:pt>
                <c:pt idx="13">
                  <c:v>127</c:v>
                </c:pt>
                <c:pt idx="14">
                  <c:v>128</c:v>
                </c:pt>
                <c:pt idx="15">
                  <c:v>128</c:v>
                </c:pt>
                <c:pt idx="16">
                  <c:v>129</c:v>
                </c:pt>
                <c:pt idx="17">
                  <c:v>129</c:v>
                </c:pt>
                <c:pt idx="18">
                  <c:v>130</c:v>
                </c:pt>
                <c:pt idx="19">
                  <c:v>130</c:v>
                </c:pt>
                <c:pt idx="20">
                  <c:v>131</c:v>
                </c:pt>
                <c:pt idx="21">
                  <c:v>131</c:v>
                </c:pt>
                <c:pt idx="22">
                  <c:v>128</c:v>
                </c:pt>
                <c:pt idx="23">
                  <c:v>134</c:v>
                </c:pt>
                <c:pt idx="24">
                  <c:v>139</c:v>
                </c:pt>
                <c:pt idx="25">
                  <c:v>145</c:v>
                </c:pt>
                <c:pt idx="26">
                  <c:v>149</c:v>
                </c:pt>
                <c:pt idx="27">
                  <c:v>152</c:v>
                </c:pt>
                <c:pt idx="28">
                  <c:v>157</c:v>
                </c:pt>
                <c:pt idx="29">
                  <c:v>160</c:v>
                </c:pt>
                <c:pt idx="30">
                  <c:v>163</c:v>
                </c:pt>
                <c:pt idx="31">
                  <c:v>165</c:v>
                </c:pt>
                <c:pt idx="32">
                  <c:v>168</c:v>
                </c:pt>
                <c:pt idx="33">
                  <c:v>170</c:v>
                </c:pt>
                <c:pt idx="34">
                  <c:v>171</c:v>
                </c:pt>
                <c:pt idx="35">
                  <c:v>172</c:v>
                </c:pt>
                <c:pt idx="36">
                  <c:v>173</c:v>
                </c:pt>
                <c:pt idx="37">
                  <c:v>174</c:v>
                </c:pt>
                <c:pt idx="38">
                  <c:v>175</c:v>
                </c:pt>
                <c:pt idx="39">
                  <c:v>176</c:v>
                </c:pt>
                <c:pt idx="40">
                  <c:v>176</c:v>
                </c:pt>
                <c:pt idx="41">
                  <c:v>178</c:v>
                </c:pt>
                <c:pt idx="42">
                  <c:v>178</c:v>
                </c:pt>
                <c:pt idx="43">
                  <c:v>179</c:v>
                </c:pt>
                <c:pt idx="44">
                  <c:v>180</c:v>
                </c:pt>
                <c:pt idx="45">
                  <c:v>182</c:v>
                </c:pt>
                <c:pt idx="46">
                  <c:v>183</c:v>
                </c:pt>
                <c:pt idx="47">
                  <c:v>183</c:v>
                </c:pt>
                <c:pt idx="48">
                  <c:v>187</c:v>
                </c:pt>
                <c:pt idx="49">
                  <c:v>190</c:v>
                </c:pt>
                <c:pt idx="50">
                  <c:v>192</c:v>
                </c:pt>
                <c:pt idx="51">
                  <c:v>194</c:v>
                </c:pt>
                <c:pt idx="52">
                  <c:v>196</c:v>
                </c:pt>
                <c:pt idx="53">
                  <c:v>197</c:v>
                </c:pt>
                <c:pt idx="54">
                  <c:v>199</c:v>
                </c:pt>
                <c:pt idx="55">
                  <c:v>199</c:v>
                </c:pt>
                <c:pt idx="56">
                  <c:v>200</c:v>
                </c:pt>
                <c:pt idx="57">
                  <c:v>200</c:v>
                </c:pt>
                <c:pt idx="58">
                  <c:v>201</c:v>
                </c:pt>
                <c:pt idx="59">
                  <c:v>201</c:v>
                </c:pt>
                <c:pt idx="60">
                  <c:v>202</c:v>
                </c:pt>
                <c:pt idx="61">
                  <c:v>202</c:v>
                </c:pt>
                <c:pt idx="62">
                  <c:v>202</c:v>
                </c:pt>
                <c:pt idx="63">
                  <c:v>202</c:v>
                </c:pt>
                <c:pt idx="64">
                  <c:v>203</c:v>
                </c:pt>
                <c:pt idx="65">
                  <c:v>204</c:v>
                </c:pt>
                <c:pt idx="66">
                  <c:v>205</c:v>
                </c:pt>
                <c:pt idx="67">
                  <c:v>206</c:v>
                </c:pt>
                <c:pt idx="68">
                  <c:v>206</c:v>
                </c:pt>
                <c:pt idx="69">
                  <c:v>207</c:v>
                </c:pt>
                <c:pt idx="70">
                  <c:v>243</c:v>
                </c:pt>
                <c:pt idx="71">
                  <c:v>248</c:v>
                </c:pt>
                <c:pt idx="72">
                  <c:v>254</c:v>
                </c:pt>
                <c:pt idx="73">
                  <c:v>259</c:v>
                </c:pt>
                <c:pt idx="74">
                  <c:v>264</c:v>
                </c:pt>
                <c:pt idx="75">
                  <c:v>268</c:v>
                </c:pt>
                <c:pt idx="76">
                  <c:v>272</c:v>
                </c:pt>
                <c:pt idx="77">
                  <c:v>275</c:v>
                </c:pt>
                <c:pt idx="78">
                  <c:v>278</c:v>
                </c:pt>
                <c:pt idx="79">
                  <c:v>280</c:v>
                </c:pt>
                <c:pt idx="80">
                  <c:v>282</c:v>
                </c:pt>
                <c:pt idx="81">
                  <c:v>283</c:v>
                </c:pt>
                <c:pt idx="82">
                  <c:v>285</c:v>
                </c:pt>
                <c:pt idx="83">
                  <c:v>286</c:v>
                </c:pt>
                <c:pt idx="84">
                  <c:v>287</c:v>
                </c:pt>
                <c:pt idx="85">
                  <c:v>288</c:v>
                </c:pt>
                <c:pt idx="86">
                  <c:v>289</c:v>
                </c:pt>
                <c:pt idx="87">
                  <c:v>289</c:v>
                </c:pt>
                <c:pt idx="88">
                  <c:v>290</c:v>
                </c:pt>
                <c:pt idx="89">
                  <c:v>291</c:v>
                </c:pt>
                <c:pt idx="90">
                  <c:v>291</c:v>
                </c:pt>
                <c:pt idx="91">
                  <c:v>292</c:v>
                </c:pt>
                <c:pt idx="92">
                  <c:v>294</c:v>
                </c:pt>
                <c:pt idx="93">
                  <c:v>294</c:v>
                </c:pt>
                <c:pt idx="94">
                  <c:v>296</c:v>
                </c:pt>
                <c:pt idx="95">
                  <c:v>298</c:v>
                </c:pt>
                <c:pt idx="96">
                  <c:v>301</c:v>
                </c:pt>
                <c:pt idx="97">
                  <c:v>303</c:v>
                </c:pt>
                <c:pt idx="98">
                  <c:v>304</c:v>
                </c:pt>
                <c:pt idx="99">
                  <c:v>306</c:v>
                </c:pt>
                <c:pt idx="100">
                  <c:v>308</c:v>
                </c:pt>
                <c:pt idx="101">
                  <c:v>309</c:v>
                </c:pt>
                <c:pt idx="102">
                  <c:v>310</c:v>
                </c:pt>
                <c:pt idx="103">
                  <c:v>311</c:v>
                </c:pt>
                <c:pt idx="104">
                  <c:v>311</c:v>
                </c:pt>
                <c:pt idx="105">
                  <c:v>311</c:v>
                </c:pt>
                <c:pt idx="106">
                  <c:v>312</c:v>
                </c:pt>
                <c:pt idx="107">
                  <c:v>312</c:v>
                </c:pt>
                <c:pt idx="108">
                  <c:v>312</c:v>
                </c:pt>
                <c:pt idx="109">
                  <c:v>312</c:v>
                </c:pt>
                <c:pt idx="110">
                  <c:v>313</c:v>
                </c:pt>
                <c:pt idx="111">
                  <c:v>314</c:v>
                </c:pt>
                <c:pt idx="112">
                  <c:v>314</c:v>
                </c:pt>
                <c:pt idx="113">
                  <c:v>314</c:v>
                </c:pt>
                <c:pt idx="114">
                  <c:v>315</c:v>
                </c:pt>
                <c:pt idx="115">
                  <c:v>316</c:v>
                </c:pt>
                <c:pt idx="116">
                  <c:v>317</c:v>
                </c:pt>
                <c:pt idx="117">
                  <c:v>318</c:v>
                </c:pt>
                <c:pt idx="118">
                  <c:v>320</c:v>
                </c:pt>
                <c:pt idx="119">
                  <c:v>323</c:v>
                </c:pt>
                <c:pt idx="120">
                  <c:v>323</c:v>
                </c:pt>
                <c:pt idx="121">
                  <c:v>326</c:v>
                </c:pt>
                <c:pt idx="122">
                  <c:v>328</c:v>
                </c:pt>
                <c:pt idx="123">
                  <c:v>329</c:v>
                </c:pt>
                <c:pt idx="124">
                  <c:v>331</c:v>
                </c:pt>
                <c:pt idx="125">
                  <c:v>332</c:v>
                </c:pt>
                <c:pt idx="126">
                  <c:v>333</c:v>
                </c:pt>
                <c:pt idx="127">
                  <c:v>333</c:v>
                </c:pt>
                <c:pt idx="128">
                  <c:v>334</c:v>
                </c:pt>
                <c:pt idx="129">
                  <c:v>334</c:v>
                </c:pt>
                <c:pt idx="130">
                  <c:v>335</c:v>
                </c:pt>
                <c:pt idx="131">
                  <c:v>335</c:v>
                </c:pt>
                <c:pt idx="132">
                  <c:v>336</c:v>
                </c:pt>
                <c:pt idx="133">
                  <c:v>336</c:v>
                </c:pt>
                <c:pt idx="134">
                  <c:v>336</c:v>
                </c:pt>
                <c:pt idx="135">
                  <c:v>337</c:v>
                </c:pt>
                <c:pt idx="136">
                  <c:v>337</c:v>
                </c:pt>
                <c:pt idx="137">
                  <c:v>338</c:v>
                </c:pt>
                <c:pt idx="138">
                  <c:v>339</c:v>
                </c:pt>
                <c:pt idx="139">
                  <c:v>339</c:v>
                </c:pt>
                <c:pt idx="140">
                  <c:v>341</c:v>
                </c:pt>
                <c:pt idx="141">
                  <c:v>342</c:v>
                </c:pt>
                <c:pt idx="142">
                  <c:v>343</c:v>
                </c:pt>
                <c:pt idx="143">
                  <c:v>345</c:v>
                </c:pt>
                <c:pt idx="144">
                  <c:v>346</c:v>
                </c:pt>
                <c:pt idx="145">
                  <c:v>347</c:v>
                </c:pt>
                <c:pt idx="146">
                  <c:v>347</c:v>
                </c:pt>
                <c:pt idx="147">
                  <c:v>348</c:v>
                </c:pt>
                <c:pt idx="148">
                  <c:v>349</c:v>
                </c:pt>
                <c:pt idx="149">
                  <c:v>349</c:v>
                </c:pt>
                <c:pt idx="150">
                  <c:v>350</c:v>
                </c:pt>
                <c:pt idx="151">
                  <c:v>350</c:v>
                </c:pt>
                <c:pt idx="152">
                  <c:v>350</c:v>
                </c:pt>
                <c:pt idx="153">
                  <c:v>350</c:v>
                </c:pt>
                <c:pt idx="154">
                  <c:v>351</c:v>
                </c:pt>
                <c:pt idx="155">
                  <c:v>351</c:v>
                </c:pt>
                <c:pt idx="156">
                  <c:v>351</c:v>
                </c:pt>
                <c:pt idx="157">
                  <c:v>351</c:v>
                </c:pt>
                <c:pt idx="158">
                  <c:v>352</c:v>
                </c:pt>
                <c:pt idx="159">
                  <c:v>352</c:v>
                </c:pt>
                <c:pt idx="160">
                  <c:v>352</c:v>
                </c:pt>
                <c:pt idx="161">
                  <c:v>352</c:v>
                </c:pt>
                <c:pt idx="162">
                  <c:v>353</c:v>
                </c:pt>
                <c:pt idx="163">
                  <c:v>353</c:v>
                </c:pt>
                <c:pt idx="164">
                  <c:v>353</c:v>
                </c:pt>
                <c:pt idx="165">
                  <c:v>354</c:v>
                </c:pt>
                <c:pt idx="166">
                  <c:v>355</c:v>
                </c:pt>
                <c:pt idx="167">
                  <c:v>350</c:v>
                </c:pt>
                <c:pt idx="168">
                  <c:v>352</c:v>
                </c:pt>
                <c:pt idx="169">
                  <c:v>354</c:v>
                </c:pt>
                <c:pt idx="170">
                  <c:v>356</c:v>
                </c:pt>
                <c:pt idx="171">
                  <c:v>358</c:v>
                </c:pt>
                <c:pt idx="172">
                  <c:v>360</c:v>
                </c:pt>
                <c:pt idx="173">
                  <c:v>360</c:v>
                </c:pt>
                <c:pt idx="174">
                  <c:v>361</c:v>
                </c:pt>
                <c:pt idx="175">
                  <c:v>361</c:v>
                </c:pt>
                <c:pt idx="176">
                  <c:v>361</c:v>
                </c:pt>
                <c:pt idx="177">
                  <c:v>362</c:v>
                </c:pt>
                <c:pt idx="178">
                  <c:v>361</c:v>
                </c:pt>
                <c:pt idx="179">
                  <c:v>361</c:v>
                </c:pt>
                <c:pt idx="180">
                  <c:v>361</c:v>
                </c:pt>
                <c:pt idx="181">
                  <c:v>361</c:v>
                </c:pt>
                <c:pt idx="182">
                  <c:v>361</c:v>
                </c:pt>
                <c:pt idx="183">
                  <c:v>361</c:v>
                </c:pt>
                <c:pt idx="184">
                  <c:v>361</c:v>
                </c:pt>
                <c:pt idx="185">
                  <c:v>361</c:v>
                </c:pt>
                <c:pt idx="186">
                  <c:v>361</c:v>
                </c:pt>
                <c:pt idx="187">
                  <c:v>361</c:v>
                </c:pt>
                <c:pt idx="188">
                  <c:v>362</c:v>
                </c:pt>
                <c:pt idx="189">
                  <c:v>363</c:v>
                </c:pt>
                <c:pt idx="190">
                  <c:v>365</c:v>
                </c:pt>
                <c:pt idx="191">
                  <c:v>367</c:v>
                </c:pt>
                <c:pt idx="192">
                  <c:v>367</c:v>
                </c:pt>
                <c:pt idx="193">
                  <c:v>369</c:v>
                </c:pt>
                <c:pt idx="194">
                  <c:v>371</c:v>
                </c:pt>
                <c:pt idx="195">
                  <c:v>372</c:v>
                </c:pt>
                <c:pt idx="196">
                  <c:v>372</c:v>
                </c:pt>
                <c:pt idx="197">
                  <c:v>373</c:v>
                </c:pt>
                <c:pt idx="198">
                  <c:v>373</c:v>
                </c:pt>
                <c:pt idx="199">
                  <c:v>374</c:v>
                </c:pt>
                <c:pt idx="200">
                  <c:v>374</c:v>
                </c:pt>
                <c:pt idx="201">
                  <c:v>374</c:v>
                </c:pt>
                <c:pt idx="202">
                  <c:v>375</c:v>
                </c:pt>
                <c:pt idx="203">
                  <c:v>375</c:v>
                </c:pt>
                <c:pt idx="204">
                  <c:v>375</c:v>
                </c:pt>
                <c:pt idx="205">
                  <c:v>375</c:v>
                </c:pt>
                <c:pt idx="206">
                  <c:v>375</c:v>
                </c:pt>
                <c:pt idx="207">
                  <c:v>375</c:v>
                </c:pt>
                <c:pt idx="208">
                  <c:v>375</c:v>
                </c:pt>
                <c:pt idx="209">
                  <c:v>376</c:v>
                </c:pt>
                <c:pt idx="210">
                  <c:v>375</c:v>
                </c:pt>
                <c:pt idx="211">
                  <c:v>374</c:v>
                </c:pt>
                <c:pt idx="212">
                  <c:v>375</c:v>
                </c:pt>
                <c:pt idx="213">
                  <c:v>376</c:v>
                </c:pt>
                <c:pt idx="214">
                  <c:v>376</c:v>
                </c:pt>
                <c:pt idx="215">
                  <c:v>375</c:v>
                </c:pt>
                <c:pt idx="216">
                  <c:v>375</c:v>
                </c:pt>
                <c:pt idx="217">
                  <c:v>374</c:v>
                </c:pt>
                <c:pt idx="218">
                  <c:v>375</c:v>
                </c:pt>
                <c:pt idx="219">
                  <c:v>373</c:v>
                </c:pt>
                <c:pt idx="220">
                  <c:v>373</c:v>
                </c:pt>
                <c:pt idx="221">
                  <c:v>373</c:v>
                </c:pt>
                <c:pt idx="222">
                  <c:v>373</c:v>
                </c:pt>
                <c:pt idx="223">
                  <c:v>374</c:v>
                </c:pt>
                <c:pt idx="224">
                  <c:v>374</c:v>
                </c:pt>
                <c:pt idx="225">
                  <c:v>375</c:v>
                </c:pt>
                <c:pt idx="226">
                  <c:v>376</c:v>
                </c:pt>
                <c:pt idx="227">
                  <c:v>376</c:v>
                </c:pt>
                <c:pt idx="228">
                  <c:v>377</c:v>
                </c:pt>
                <c:pt idx="229">
                  <c:v>378</c:v>
                </c:pt>
                <c:pt idx="230">
                  <c:v>378</c:v>
                </c:pt>
                <c:pt idx="231">
                  <c:v>378</c:v>
                </c:pt>
                <c:pt idx="232">
                  <c:v>378</c:v>
                </c:pt>
                <c:pt idx="233">
                  <c:v>378</c:v>
                </c:pt>
                <c:pt idx="234">
                  <c:v>379</c:v>
                </c:pt>
                <c:pt idx="235">
                  <c:v>380</c:v>
                </c:pt>
                <c:pt idx="236">
                  <c:v>380</c:v>
                </c:pt>
                <c:pt idx="237">
                  <c:v>381</c:v>
                </c:pt>
                <c:pt idx="238">
                  <c:v>382</c:v>
                </c:pt>
                <c:pt idx="239">
                  <c:v>383</c:v>
                </c:pt>
                <c:pt idx="240">
                  <c:v>385</c:v>
                </c:pt>
                <c:pt idx="241">
                  <c:v>386</c:v>
                </c:pt>
                <c:pt idx="242">
                  <c:v>388</c:v>
                </c:pt>
                <c:pt idx="243">
                  <c:v>390</c:v>
                </c:pt>
                <c:pt idx="244">
                  <c:v>390</c:v>
                </c:pt>
                <c:pt idx="245">
                  <c:v>392</c:v>
                </c:pt>
                <c:pt idx="246">
                  <c:v>393</c:v>
                </c:pt>
                <c:pt idx="247">
                  <c:v>392</c:v>
                </c:pt>
                <c:pt idx="248">
                  <c:v>392</c:v>
                </c:pt>
                <c:pt idx="249">
                  <c:v>392</c:v>
                </c:pt>
                <c:pt idx="250">
                  <c:v>392</c:v>
                </c:pt>
                <c:pt idx="251">
                  <c:v>392</c:v>
                </c:pt>
                <c:pt idx="252">
                  <c:v>392</c:v>
                </c:pt>
                <c:pt idx="253">
                  <c:v>393</c:v>
                </c:pt>
                <c:pt idx="254">
                  <c:v>393</c:v>
                </c:pt>
                <c:pt idx="255">
                  <c:v>392</c:v>
                </c:pt>
                <c:pt idx="256">
                  <c:v>393</c:v>
                </c:pt>
                <c:pt idx="257">
                  <c:v>393</c:v>
                </c:pt>
                <c:pt idx="258">
                  <c:v>393</c:v>
                </c:pt>
                <c:pt idx="259">
                  <c:v>393</c:v>
                </c:pt>
                <c:pt idx="260">
                  <c:v>393</c:v>
                </c:pt>
                <c:pt idx="261">
                  <c:v>395</c:v>
                </c:pt>
                <c:pt idx="262">
                  <c:v>396</c:v>
                </c:pt>
                <c:pt idx="263">
                  <c:v>397</c:v>
                </c:pt>
                <c:pt idx="264">
                  <c:v>396</c:v>
                </c:pt>
                <c:pt idx="265">
                  <c:v>398</c:v>
                </c:pt>
                <c:pt idx="266">
                  <c:v>400</c:v>
                </c:pt>
                <c:pt idx="267">
                  <c:v>402</c:v>
                </c:pt>
                <c:pt idx="268">
                  <c:v>404</c:v>
                </c:pt>
                <c:pt idx="269">
                  <c:v>404</c:v>
                </c:pt>
                <c:pt idx="270">
                  <c:v>405</c:v>
                </c:pt>
                <c:pt idx="271">
                  <c:v>406</c:v>
                </c:pt>
                <c:pt idx="272">
                  <c:v>406</c:v>
                </c:pt>
                <c:pt idx="273">
                  <c:v>406</c:v>
                </c:pt>
                <c:pt idx="274">
                  <c:v>407</c:v>
                </c:pt>
                <c:pt idx="275">
                  <c:v>407</c:v>
                </c:pt>
                <c:pt idx="276">
                  <c:v>407</c:v>
                </c:pt>
                <c:pt idx="277">
                  <c:v>408</c:v>
                </c:pt>
                <c:pt idx="278">
                  <c:v>408</c:v>
                </c:pt>
                <c:pt idx="279">
                  <c:v>409</c:v>
                </c:pt>
                <c:pt idx="280">
                  <c:v>409</c:v>
                </c:pt>
                <c:pt idx="281">
                  <c:v>409</c:v>
                </c:pt>
                <c:pt idx="282">
                  <c:v>410</c:v>
                </c:pt>
                <c:pt idx="283">
                  <c:v>411</c:v>
                </c:pt>
                <c:pt idx="284">
                  <c:v>411</c:v>
                </c:pt>
                <c:pt idx="285">
                  <c:v>412</c:v>
                </c:pt>
                <c:pt idx="286">
                  <c:v>414</c:v>
                </c:pt>
                <c:pt idx="287">
                  <c:v>415</c:v>
                </c:pt>
                <c:pt idx="288">
                  <c:v>416</c:v>
                </c:pt>
                <c:pt idx="289">
                  <c:v>417</c:v>
                </c:pt>
                <c:pt idx="290">
                  <c:v>418</c:v>
                </c:pt>
                <c:pt idx="291">
                  <c:v>419</c:v>
                </c:pt>
                <c:pt idx="292">
                  <c:v>420</c:v>
                </c:pt>
                <c:pt idx="293">
                  <c:v>420</c:v>
                </c:pt>
                <c:pt idx="294">
                  <c:v>421</c:v>
                </c:pt>
                <c:pt idx="295">
                  <c:v>422</c:v>
                </c:pt>
                <c:pt idx="296">
                  <c:v>422</c:v>
                </c:pt>
                <c:pt idx="297">
                  <c:v>422</c:v>
                </c:pt>
                <c:pt idx="298">
                  <c:v>422</c:v>
                </c:pt>
                <c:pt idx="299">
                  <c:v>422</c:v>
                </c:pt>
                <c:pt idx="300">
                  <c:v>423</c:v>
                </c:pt>
                <c:pt idx="301">
                  <c:v>423</c:v>
                </c:pt>
                <c:pt idx="302">
                  <c:v>423</c:v>
                </c:pt>
                <c:pt idx="303">
                  <c:v>424</c:v>
                </c:pt>
                <c:pt idx="304">
                  <c:v>424</c:v>
                </c:pt>
                <c:pt idx="305">
                  <c:v>424</c:v>
                </c:pt>
                <c:pt idx="306">
                  <c:v>425</c:v>
                </c:pt>
                <c:pt idx="307">
                  <c:v>424</c:v>
                </c:pt>
                <c:pt idx="308">
                  <c:v>425</c:v>
                </c:pt>
                <c:pt idx="309">
                  <c:v>427</c:v>
                </c:pt>
                <c:pt idx="310">
                  <c:v>427</c:v>
                </c:pt>
                <c:pt idx="311">
                  <c:v>428</c:v>
                </c:pt>
                <c:pt idx="312">
                  <c:v>430</c:v>
                </c:pt>
                <c:pt idx="313">
                  <c:v>431</c:v>
                </c:pt>
                <c:pt idx="314">
                  <c:v>433</c:v>
                </c:pt>
                <c:pt idx="315">
                  <c:v>435</c:v>
                </c:pt>
                <c:pt idx="316">
                  <c:v>435</c:v>
                </c:pt>
                <c:pt idx="317">
                  <c:v>436</c:v>
                </c:pt>
                <c:pt idx="318">
                  <c:v>436</c:v>
                </c:pt>
                <c:pt idx="319">
                  <c:v>437</c:v>
                </c:pt>
                <c:pt idx="320">
                  <c:v>436</c:v>
                </c:pt>
                <c:pt idx="321">
                  <c:v>436</c:v>
                </c:pt>
                <c:pt idx="322">
                  <c:v>436</c:v>
                </c:pt>
                <c:pt idx="323">
                  <c:v>436</c:v>
                </c:pt>
                <c:pt idx="324">
                  <c:v>436</c:v>
                </c:pt>
                <c:pt idx="325">
                  <c:v>437</c:v>
                </c:pt>
                <c:pt idx="326">
                  <c:v>437</c:v>
                </c:pt>
                <c:pt idx="327">
                  <c:v>437</c:v>
                </c:pt>
                <c:pt idx="328">
                  <c:v>437</c:v>
                </c:pt>
                <c:pt idx="329">
                  <c:v>436</c:v>
                </c:pt>
                <c:pt idx="330">
                  <c:v>437</c:v>
                </c:pt>
                <c:pt idx="331">
                  <c:v>438</c:v>
                </c:pt>
                <c:pt idx="332">
                  <c:v>43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D311-BB4F-A1CF-2318CF941BD8}"/>
            </c:ext>
          </c:extLst>
        </c:ser>
        <c:ser>
          <c:idx val="1"/>
          <c:order val="2"/>
          <c:tx>
            <c:v>8</c:v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xVal>
            <c:numRef>
              <c:f>'8 Stored sludge'!$D$20:$D$352</c:f>
              <c:numCache>
                <c:formatCode>0</c:formatCode>
                <c:ptCount val="333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</c:numCache>
            </c:numRef>
          </c:xVal>
          <c:yVal>
            <c:numRef>
              <c:f>'8 Stored sludge'!$E$20:$E$352</c:f>
              <c:numCache>
                <c:formatCode>General</c:formatCode>
                <c:ptCount val="333"/>
                <c:pt idx="0">
                  <c:v>0</c:v>
                </c:pt>
                <c:pt idx="1">
                  <c:v>61</c:v>
                </c:pt>
                <c:pt idx="2">
                  <c:v>77</c:v>
                </c:pt>
                <c:pt idx="3">
                  <c:v>87</c:v>
                </c:pt>
                <c:pt idx="4">
                  <c:v>95</c:v>
                </c:pt>
                <c:pt idx="5">
                  <c:v>100</c:v>
                </c:pt>
                <c:pt idx="6">
                  <c:v>102</c:v>
                </c:pt>
                <c:pt idx="7">
                  <c:v>104</c:v>
                </c:pt>
                <c:pt idx="8">
                  <c:v>105</c:v>
                </c:pt>
                <c:pt idx="9">
                  <c:v>105</c:v>
                </c:pt>
                <c:pt idx="10">
                  <c:v>106</c:v>
                </c:pt>
                <c:pt idx="11">
                  <c:v>106</c:v>
                </c:pt>
                <c:pt idx="12">
                  <c:v>106</c:v>
                </c:pt>
                <c:pt idx="13">
                  <c:v>106</c:v>
                </c:pt>
                <c:pt idx="14">
                  <c:v>107</c:v>
                </c:pt>
                <c:pt idx="15">
                  <c:v>107</c:v>
                </c:pt>
                <c:pt idx="16">
                  <c:v>107</c:v>
                </c:pt>
                <c:pt idx="17">
                  <c:v>108</c:v>
                </c:pt>
                <c:pt idx="18">
                  <c:v>109</c:v>
                </c:pt>
                <c:pt idx="19">
                  <c:v>110</c:v>
                </c:pt>
                <c:pt idx="20">
                  <c:v>110</c:v>
                </c:pt>
                <c:pt idx="21">
                  <c:v>110</c:v>
                </c:pt>
                <c:pt idx="22">
                  <c:v>106</c:v>
                </c:pt>
                <c:pt idx="23">
                  <c:v>110</c:v>
                </c:pt>
                <c:pt idx="24">
                  <c:v>115</c:v>
                </c:pt>
                <c:pt idx="25">
                  <c:v>119</c:v>
                </c:pt>
                <c:pt idx="26">
                  <c:v>123</c:v>
                </c:pt>
                <c:pt idx="27">
                  <c:v>126</c:v>
                </c:pt>
                <c:pt idx="28">
                  <c:v>130</c:v>
                </c:pt>
                <c:pt idx="29">
                  <c:v>133</c:v>
                </c:pt>
                <c:pt idx="30">
                  <c:v>135</c:v>
                </c:pt>
                <c:pt idx="31">
                  <c:v>138</c:v>
                </c:pt>
                <c:pt idx="32">
                  <c:v>139</c:v>
                </c:pt>
                <c:pt idx="33">
                  <c:v>141</c:v>
                </c:pt>
                <c:pt idx="34">
                  <c:v>142</c:v>
                </c:pt>
                <c:pt idx="35">
                  <c:v>144</c:v>
                </c:pt>
                <c:pt idx="36">
                  <c:v>144</c:v>
                </c:pt>
                <c:pt idx="37">
                  <c:v>145</c:v>
                </c:pt>
                <c:pt idx="38">
                  <c:v>146</c:v>
                </c:pt>
                <c:pt idx="39">
                  <c:v>147</c:v>
                </c:pt>
                <c:pt idx="40">
                  <c:v>147</c:v>
                </c:pt>
                <c:pt idx="41">
                  <c:v>149</c:v>
                </c:pt>
                <c:pt idx="42">
                  <c:v>149</c:v>
                </c:pt>
                <c:pt idx="43">
                  <c:v>150</c:v>
                </c:pt>
                <c:pt idx="44">
                  <c:v>150</c:v>
                </c:pt>
                <c:pt idx="45">
                  <c:v>151</c:v>
                </c:pt>
                <c:pt idx="46">
                  <c:v>153</c:v>
                </c:pt>
                <c:pt idx="47">
                  <c:v>153</c:v>
                </c:pt>
                <c:pt idx="48">
                  <c:v>156</c:v>
                </c:pt>
                <c:pt idx="49">
                  <c:v>158</c:v>
                </c:pt>
                <c:pt idx="50">
                  <c:v>160</c:v>
                </c:pt>
                <c:pt idx="51">
                  <c:v>161</c:v>
                </c:pt>
                <c:pt idx="52">
                  <c:v>163</c:v>
                </c:pt>
                <c:pt idx="53">
                  <c:v>164</c:v>
                </c:pt>
                <c:pt idx="54">
                  <c:v>165</c:v>
                </c:pt>
                <c:pt idx="55">
                  <c:v>165</c:v>
                </c:pt>
                <c:pt idx="56">
                  <c:v>165</c:v>
                </c:pt>
                <c:pt idx="57">
                  <c:v>166</c:v>
                </c:pt>
                <c:pt idx="58">
                  <c:v>166</c:v>
                </c:pt>
                <c:pt idx="59">
                  <c:v>167</c:v>
                </c:pt>
                <c:pt idx="60">
                  <c:v>167</c:v>
                </c:pt>
                <c:pt idx="61">
                  <c:v>168</c:v>
                </c:pt>
                <c:pt idx="62">
                  <c:v>168</c:v>
                </c:pt>
                <c:pt idx="63">
                  <c:v>169</c:v>
                </c:pt>
                <c:pt idx="64">
                  <c:v>169</c:v>
                </c:pt>
                <c:pt idx="65">
                  <c:v>170</c:v>
                </c:pt>
                <c:pt idx="66">
                  <c:v>171</c:v>
                </c:pt>
                <c:pt idx="67">
                  <c:v>172</c:v>
                </c:pt>
                <c:pt idx="68">
                  <c:v>173</c:v>
                </c:pt>
                <c:pt idx="69">
                  <c:v>174</c:v>
                </c:pt>
                <c:pt idx="70">
                  <c:v>195</c:v>
                </c:pt>
                <c:pt idx="71">
                  <c:v>200</c:v>
                </c:pt>
                <c:pt idx="72">
                  <c:v>204</c:v>
                </c:pt>
                <c:pt idx="73">
                  <c:v>209</c:v>
                </c:pt>
                <c:pt idx="74">
                  <c:v>214</c:v>
                </c:pt>
                <c:pt idx="75">
                  <c:v>217</c:v>
                </c:pt>
                <c:pt idx="76">
                  <c:v>221</c:v>
                </c:pt>
                <c:pt idx="77">
                  <c:v>223</c:v>
                </c:pt>
                <c:pt idx="78">
                  <c:v>227</c:v>
                </c:pt>
                <c:pt idx="79">
                  <c:v>229</c:v>
                </c:pt>
                <c:pt idx="80">
                  <c:v>231</c:v>
                </c:pt>
                <c:pt idx="81">
                  <c:v>233</c:v>
                </c:pt>
                <c:pt idx="82">
                  <c:v>234</c:v>
                </c:pt>
                <c:pt idx="83">
                  <c:v>236</c:v>
                </c:pt>
                <c:pt idx="84">
                  <c:v>238</c:v>
                </c:pt>
                <c:pt idx="85">
                  <c:v>239</c:v>
                </c:pt>
                <c:pt idx="86">
                  <c:v>240</c:v>
                </c:pt>
                <c:pt idx="87">
                  <c:v>241</c:v>
                </c:pt>
                <c:pt idx="88">
                  <c:v>242</c:v>
                </c:pt>
                <c:pt idx="89">
                  <c:v>243</c:v>
                </c:pt>
                <c:pt idx="90">
                  <c:v>244</c:v>
                </c:pt>
                <c:pt idx="91">
                  <c:v>245</c:v>
                </c:pt>
                <c:pt idx="92">
                  <c:v>247</c:v>
                </c:pt>
                <c:pt idx="93">
                  <c:v>248</c:v>
                </c:pt>
                <c:pt idx="94">
                  <c:v>250</c:v>
                </c:pt>
                <c:pt idx="95">
                  <c:v>252</c:v>
                </c:pt>
                <c:pt idx="96">
                  <c:v>254</c:v>
                </c:pt>
                <c:pt idx="97">
                  <c:v>256</c:v>
                </c:pt>
                <c:pt idx="98">
                  <c:v>259</c:v>
                </c:pt>
                <c:pt idx="99">
                  <c:v>261</c:v>
                </c:pt>
                <c:pt idx="100">
                  <c:v>263</c:v>
                </c:pt>
                <c:pt idx="101">
                  <c:v>264</c:v>
                </c:pt>
                <c:pt idx="102">
                  <c:v>265</c:v>
                </c:pt>
                <c:pt idx="103">
                  <c:v>266</c:v>
                </c:pt>
                <c:pt idx="104">
                  <c:v>267</c:v>
                </c:pt>
                <c:pt idx="105">
                  <c:v>268</c:v>
                </c:pt>
                <c:pt idx="106">
                  <c:v>269</c:v>
                </c:pt>
                <c:pt idx="107">
                  <c:v>270</c:v>
                </c:pt>
                <c:pt idx="108">
                  <c:v>271</c:v>
                </c:pt>
                <c:pt idx="109">
                  <c:v>271</c:v>
                </c:pt>
                <c:pt idx="110">
                  <c:v>272</c:v>
                </c:pt>
                <c:pt idx="111">
                  <c:v>273</c:v>
                </c:pt>
                <c:pt idx="112">
                  <c:v>273</c:v>
                </c:pt>
                <c:pt idx="113">
                  <c:v>274</c:v>
                </c:pt>
                <c:pt idx="114">
                  <c:v>275</c:v>
                </c:pt>
                <c:pt idx="115">
                  <c:v>276</c:v>
                </c:pt>
                <c:pt idx="116">
                  <c:v>277</c:v>
                </c:pt>
                <c:pt idx="117">
                  <c:v>279</c:v>
                </c:pt>
                <c:pt idx="118">
                  <c:v>281</c:v>
                </c:pt>
                <c:pt idx="119">
                  <c:v>282</c:v>
                </c:pt>
                <c:pt idx="120">
                  <c:v>284</c:v>
                </c:pt>
                <c:pt idx="121">
                  <c:v>285</c:v>
                </c:pt>
                <c:pt idx="122">
                  <c:v>287</c:v>
                </c:pt>
                <c:pt idx="123">
                  <c:v>289</c:v>
                </c:pt>
                <c:pt idx="124">
                  <c:v>291</c:v>
                </c:pt>
                <c:pt idx="125">
                  <c:v>292</c:v>
                </c:pt>
                <c:pt idx="126">
                  <c:v>293</c:v>
                </c:pt>
                <c:pt idx="127">
                  <c:v>294</c:v>
                </c:pt>
                <c:pt idx="128">
                  <c:v>295</c:v>
                </c:pt>
                <c:pt idx="129">
                  <c:v>296</c:v>
                </c:pt>
                <c:pt idx="130">
                  <c:v>297</c:v>
                </c:pt>
                <c:pt idx="131">
                  <c:v>298</c:v>
                </c:pt>
                <c:pt idx="132">
                  <c:v>298</c:v>
                </c:pt>
                <c:pt idx="133">
                  <c:v>298</c:v>
                </c:pt>
                <c:pt idx="134">
                  <c:v>299</c:v>
                </c:pt>
                <c:pt idx="135">
                  <c:v>299</c:v>
                </c:pt>
                <c:pt idx="136">
                  <c:v>300</c:v>
                </c:pt>
                <c:pt idx="137">
                  <c:v>301</c:v>
                </c:pt>
                <c:pt idx="138">
                  <c:v>302</c:v>
                </c:pt>
                <c:pt idx="139">
                  <c:v>303</c:v>
                </c:pt>
                <c:pt idx="140">
                  <c:v>304</c:v>
                </c:pt>
                <c:pt idx="141">
                  <c:v>305</c:v>
                </c:pt>
                <c:pt idx="142">
                  <c:v>306</c:v>
                </c:pt>
                <c:pt idx="143">
                  <c:v>307</c:v>
                </c:pt>
                <c:pt idx="144">
                  <c:v>309</c:v>
                </c:pt>
                <c:pt idx="145">
                  <c:v>310</c:v>
                </c:pt>
                <c:pt idx="146">
                  <c:v>311</c:v>
                </c:pt>
                <c:pt idx="147">
                  <c:v>312</c:v>
                </c:pt>
                <c:pt idx="148">
                  <c:v>313</c:v>
                </c:pt>
                <c:pt idx="149">
                  <c:v>313</c:v>
                </c:pt>
                <c:pt idx="150">
                  <c:v>314</c:v>
                </c:pt>
                <c:pt idx="151">
                  <c:v>314</c:v>
                </c:pt>
                <c:pt idx="152">
                  <c:v>315</c:v>
                </c:pt>
                <c:pt idx="153">
                  <c:v>315</c:v>
                </c:pt>
                <c:pt idx="154">
                  <c:v>315</c:v>
                </c:pt>
                <c:pt idx="155">
                  <c:v>316</c:v>
                </c:pt>
                <c:pt idx="156">
                  <c:v>316</c:v>
                </c:pt>
                <c:pt idx="157">
                  <c:v>317</c:v>
                </c:pt>
                <c:pt idx="158">
                  <c:v>317</c:v>
                </c:pt>
                <c:pt idx="159">
                  <c:v>317</c:v>
                </c:pt>
                <c:pt idx="160">
                  <c:v>317</c:v>
                </c:pt>
                <c:pt idx="161">
                  <c:v>318</c:v>
                </c:pt>
                <c:pt idx="162">
                  <c:v>318</c:v>
                </c:pt>
                <c:pt idx="163">
                  <c:v>318</c:v>
                </c:pt>
                <c:pt idx="164">
                  <c:v>319</c:v>
                </c:pt>
                <c:pt idx="165">
                  <c:v>320</c:v>
                </c:pt>
                <c:pt idx="166">
                  <c:v>320</c:v>
                </c:pt>
                <c:pt idx="167">
                  <c:v>317</c:v>
                </c:pt>
                <c:pt idx="168">
                  <c:v>317</c:v>
                </c:pt>
                <c:pt idx="169">
                  <c:v>319</c:v>
                </c:pt>
                <c:pt idx="170">
                  <c:v>321</c:v>
                </c:pt>
                <c:pt idx="171">
                  <c:v>322</c:v>
                </c:pt>
                <c:pt idx="172">
                  <c:v>324</c:v>
                </c:pt>
                <c:pt idx="173">
                  <c:v>325</c:v>
                </c:pt>
                <c:pt idx="174">
                  <c:v>325</c:v>
                </c:pt>
                <c:pt idx="175">
                  <c:v>325</c:v>
                </c:pt>
                <c:pt idx="176">
                  <c:v>325</c:v>
                </c:pt>
                <c:pt idx="177">
                  <c:v>326</c:v>
                </c:pt>
                <c:pt idx="178">
                  <c:v>326</c:v>
                </c:pt>
                <c:pt idx="179">
                  <c:v>326</c:v>
                </c:pt>
                <c:pt idx="180">
                  <c:v>327</c:v>
                </c:pt>
                <c:pt idx="181">
                  <c:v>326</c:v>
                </c:pt>
                <c:pt idx="182">
                  <c:v>326</c:v>
                </c:pt>
                <c:pt idx="183">
                  <c:v>326</c:v>
                </c:pt>
                <c:pt idx="184">
                  <c:v>326</c:v>
                </c:pt>
                <c:pt idx="185">
                  <c:v>327</c:v>
                </c:pt>
                <c:pt idx="186">
                  <c:v>327</c:v>
                </c:pt>
                <c:pt idx="187">
                  <c:v>327</c:v>
                </c:pt>
                <c:pt idx="188">
                  <c:v>328</c:v>
                </c:pt>
                <c:pt idx="189">
                  <c:v>329</c:v>
                </c:pt>
                <c:pt idx="190">
                  <c:v>330</c:v>
                </c:pt>
                <c:pt idx="191">
                  <c:v>331</c:v>
                </c:pt>
                <c:pt idx="192">
                  <c:v>333</c:v>
                </c:pt>
                <c:pt idx="193">
                  <c:v>334</c:v>
                </c:pt>
                <c:pt idx="194">
                  <c:v>336</c:v>
                </c:pt>
                <c:pt idx="195">
                  <c:v>337</c:v>
                </c:pt>
                <c:pt idx="196">
                  <c:v>338</c:v>
                </c:pt>
                <c:pt idx="197">
                  <c:v>338</c:v>
                </c:pt>
                <c:pt idx="198">
                  <c:v>339</c:v>
                </c:pt>
                <c:pt idx="199">
                  <c:v>340</c:v>
                </c:pt>
                <c:pt idx="200">
                  <c:v>340</c:v>
                </c:pt>
                <c:pt idx="201">
                  <c:v>340</c:v>
                </c:pt>
                <c:pt idx="202">
                  <c:v>341</c:v>
                </c:pt>
                <c:pt idx="203">
                  <c:v>341</c:v>
                </c:pt>
                <c:pt idx="204">
                  <c:v>341</c:v>
                </c:pt>
                <c:pt idx="205">
                  <c:v>341</c:v>
                </c:pt>
                <c:pt idx="206">
                  <c:v>341</c:v>
                </c:pt>
                <c:pt idx="207">
                  <c:v>342</c:v>
                </c:pt>
                <c:pt idx="208">
                  <c:v>342</c:v>
                </c:pt>
                <c:pt idx="209">
                  <c:v>342</c:v>
                </c:pt>
                <c:pt idx="210">
                  <c:v>342</c:v>
                </c:pt>
                <c:pt idx="211">
                  <c:v>342</c:v>
                </c:pt>
                <c:pt idx="212">
                  <c:v>341</c:v>
                </c:pt>
                <c:pt idx="213">
                  <c:v>342</c:v>
                </c:pt>
                <c:pt idx="214">
                  <c:v>343</c:v>
                </c:pt>
                <c:pt idx="215">
                  <c:v>343</c:v>
                </c:pt>
                <c:pt idx="216">
                  <c:v>343</c:v>
                </c:pt>
                <c:pt idx="217">
                  <c:v>343</c:v>
                </c:pt>
                <c:pt idx="218">
                  <c:v>343</c:v>
                </c:pt>
                <c:pt idx="219">
                  <c:v>341</c:v>
                </c:pt>
                <c:pt idx="220">
                  <c:v>341</c:v>
                </c:pt>
                <c:pt idx="221">
                  <c:v>341</c:v>
                </c:pt>
                <c:pt idx="222">
                  <c:v>341</c:v>
                </c:pt>
                <c:pt idx="223">
                  <c:v>342</c:v>
                </c:pt>
                <c:pt idx="224">
                  <c:v>342</c:v>
                </c:pt>
                <c:pt idx="225">
                  <c:v>343</c:v>
                </c:pt>
                <c:pt idx="226">
                  <c:v>344</c:v>
                </c:pt>
                <c:pt idx="227">
                  <c:v>345</c:v>
                </c:pt>
                <c:pt idx="228">
                  <c:v>345</c:v>
                </c:pt>
                <c:pt idx="229">
                  <c:v>346</c:v>
                </c:pt>
                <c:pt idx="230">
                  <c:v>346</c:v>
                </c:pt>
                <c:pt idx="231">
                  <c:v>346</c:v>
                </c:pt>
                <c:pt idx="232">
                  <c:v>346</c:v>
                </c:pt>
                <c:pt idx="233">
                  <c:v>347</c:v>
                </c:pt>
                <c:pt idx="234">
                  <c:v>347</c:v>
                </c:pt>
                <c:pt idx="235">
                  <c:v>348</c:v>
                </c:pt>
                <c:pt idx="236">
                  <c:v>348</c:v>
                </c:pt>
                <c:pt idx="237">
                  <c:v>349</c:v>
                </c:pt>
                <c:pt idx="238">
                  <c:v>350</c:v>
                </c:pt>
                <c:pt idx="239">
                  <c:v>351</c:v>
                </c:pt>
                <c:pt idx="240">
                  <c:v>353</c:v>
                </c:pt>
                <c:pt idx="241">
                  <c:v>354</c:v>
                </c:pt>
                <c:pt idx="242">
                  <c:v>356</c:v>
                </c:pt>
                <c:pt idx="243">
                  <c:v>358</c:v>
                </c:pt>
                <c:pt idx="244">
                  <c:v>359</c:v>
                </c:pt>
                <c:pt idx="245">
                  <c:v>360</c:v>
                </c:pt>
                <c:pt idx="246">
                  <c:v>361</c:v>
                </c:pt>
                <c:pt idx="247">
                  <c:v>361</c:v>
                </c:pt>
                <c:pt idx="248">
                  <c:v>361</c:v>
                </c:pt>
                <c:pt idx="249">
                  <c:v>362</c:v>
                </c:pt>
                <c:pt idx="250">
                  <c:v>361</c:v>
                </c:pt>
                <c:pt idx="251">
                  <c:v>362</c:v>
                </c:pt>
                <c:pt idx="252">
                  <c:v>362</c:v>
                </c:pt>
                <c:pt idx="253">
                  <c:v>362</c:v>
                </c:pt>
                <c:pt idx="254">
                  <c:v>363</c:v>
                </c:pt>
                <c:pt idx="255">
                  <c:v>363</c:v>
                </c:pt>
                <c:pt idx="256">
                  <c:v>363</c:v>
                </c:pt>
                <c:pt idx="257">
                  <c:v>363</c:v>
                </c:pt>
                <c:pt idx="258">
                  <c:v>363</c:v>
                </c:pt>
                <c:pt idx="259">
                  <c:v>363</c:v>
                </c:pt>
                <c:pt idx="260">
                  <c:v>364</c:v>
                </c:pt>
                <c:pt idx="261">
                  <c:v>365</c:v>
                </c:pt>
                <c:pt idx="262">
                  <c:v>366</c:v>
                </c:pt>
                <c:pt idx="263">
                  <c:v>367</c:v>
                </c:pt>
                <c:pt idx="264">
                  <c:v>366</c:v>
                </c:pt>
                <c:pt idx="265">
                  <c:v>367</c:v>
                </c:pt>
                <c:pt idx="266">
                  <c:v>369</c:v>
                </c:pt>
                <c:pt idx="267">
                  <c:v>370</c:v>
                </c:pt>
                <c:pt idx="268">
                  <c:v>371</c:v>
                </c:pt>
                <c:pt idx="269">
                  <c:v>372</c:v>
                </c:pt>
                <c:pt idx="270">
                  <c:v>373</c:v>
                </c:pt>
                <c:pt idx="271">
                  <c:v>374</c:v>
                </c:pt>
                <c:pt idx="272">
                  <c:v>374</c:v>
                </c:pt>
                <c:pt idx="273">
                  <c:v>374</c:v>
                </c:pt>
                <c:pt idx="274">
                  <c:v>375</c:v>
                </c:pt>
                <c:pt idx="275">
                  <c:v>375</c:v>
                </c:pt>
                <c:pt idx="276">
                  <c:v>375</c:v>
                </c:pt>
                <c:pt idx="277">
                  <c:v>376</c:v>
                </c:pt>
                <c:pt idx="278">
                  <c:v>376</c:v>
                </c:pt>
                <c:pt idx="279">
                  <c:v>377</c:v>
                </c:pt>
                <c:pt idx="280">
                  <c:v>377</c:v>
                </c:pt>
                <c:pt idx="281">
                  <c:v>377</c:v>
                </c:pt>
                <c:pt idx="282">
                  <c:v>378</c:v>
                </c:pt>
                <c:pt idx="283">
                  <c:v>379</c:v>
                </c:pt>
                <c:pt idx="284">
                  <c:v>379</c:v>
                </c:pt>
                <c:pt idx="285">
                  <c:v>380</c:v>
                </c:pt>
                <c:pt idx="286">
                  <c:v>381</c:v>
                </c:pt>
                <c:pt idx="287">
                  <c:v>382</c:v>
                </c:pt>
                <c:pt idx="288">
                  <c:v>383</c:v>
                </c:pt>
                <c:pt idx="289">
                  <c:v>384</c:v>
                </c:pt>
                <c:pt idx="290">
                  <c:v>385</c:v>
                </c:pt>
                <c:pt idx="291">
                  <c:v>386</c:v>
                </c:pt>
                <c:pt idx="292">
                  <c:v>387</c:v>
                </c:pt>
                <c:pt idx="293">
                  <c:v>388</c:v>
                </c:pt>
                <c:pt idx="294">
                  <c:v>388</c:v>
                </c:pt>
                <c:pt idx="295">
                  <c:v>388</c:v>
                </c:pt>
                <c:pt idx="296">
                  <c:v>389</c:v>
                </c:pt>
                <c:pt idx="297">
                  <c:v>389</c:v>
                </c:pt>
                <c:pt idx="298">
                  <c:v>389</c:v>
                </c:pt>
                <c:pt idx="299">
                  <c:v>389</c:v>
                </c:pt>
                <c:pt idx="300">
                  <c:v>390</c:v>
                </c:pt>
                <c:pt idx="301">
                  <c:v>390</c:v>
                </c:pt>
                <c:pt idx="302">
                  <c:v>391</c:v>
                </c:pt>
                <c:pt idx="303">
                  <c:v>391</c:v>
                </c:pt>
                <c:pt idx="304">
                  <c:v>391</c:v>
                </c:pt>
                <c:pt idx="305">
                  <c:v>391</c:v>
                </c:pt>
                <c:pt idx="306">
                  <c:v>391</c:v>
                </c:pt>
                <c:pt idx="307">
                  <c:v>392</c:v>
                </c:pt>
                <c:pt idx="308">
                  <c:v>392</c:v>
                </c:pt>
                <c:pt idx="309">
                  <c:v>393</c:v>
                </c:pt>
                <c:pt idx="310">
                  <c:v>394</c:v>
                </c:pt>
                <c:pt idx="311">
                  <c:v>395</c:v>
                </c:pt>
                <c:pt idx="312">
                  <c:v>397</c:v>
                </c:pt>
                <c:pt idx="313">
                  <c:v>398</c:v>
                </c:pt>
                <c:pt idx="314">
                  <c:v>399</c:v>
                </c:pt>
                <c:pt idx="315">
                  <c:v>401</c:v>
                </c:pt>
                <c:pt idx="316">
                  <c:v>401</c:v>
                </c:pt>
                <c:pt idx="317">
                  <c:v>402</c:v>
                </c:pt>
                <c:pt idx="318">
                  <c:v>403</c:v>
                </c:pt>
                <c:pt idx="319">
                  <c:v>402</c:v>
                </c:pt>
                <c:pt idx="320">
                  <c:v>403</c:v>
                </c:pt>
                <c:pt idx="321">
                  <c:v>403</c:v>
                </c:pt>
                <c:pt idx="322">
                  <c:v>403</c:v>
                </c:pt>
                <c:pt idx="323">
                  <c:v>403</c:v>
                </c:pt>
                <c:pt idx="324">
                  <c:v>403</c:v>
                </c:pt>
                <c:pt idx="325">
                  <c:v>403</c:v>
                </c:pt>
                <c:pt idx="326">
                  <c:v>402</c:v>
                </c:pt>
                <c:pt idx="327">
                  <c:v>403</c:v>
                </c:pt>
                <c:pt idx="328">
                  <c:v>403</c:v>
                </c:pt>
                <c:pt idx="329">
                  <c:v>403</c:v>
                </c:pt>
                <c:pt idx="330">
                  <c:v>403</c:v>
                </c:pt>
                <c:pt idx="331">
                  <c:v>404</c:v>
                </c:pt>
                <c:pt idx="332">
                  <c:v>40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D311-BB4F-A1CF-2318CF941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9191167"/>
        <c:axId val="1"/>
      </c:scatterChart>
      <c:valAx>
        <c:axId val="19919116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ime [days]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"/>
        <c:crosses val="autoZero"/>
        <c:crossBetween val="midCat"/>
      </c:val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ssure [hPa]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91167"/>
        <c:crosses val="autoZero"/>
        <c:crossBetween val="midCat"/>
      </c:valAx>
      <c:spPr>
        <a:noFill/>
        <a:ln w="25400">
          <a:noFill/>
        </a:ln>
      </c:spPr>
    </c:plotArea>
    <c:legend>
      <c:legendPos val="r"/>
      <c:overlay val="0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D9D9D9"/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parison</a:t>
            </a:r>
            <a:r>
              <a:rPr lang="en-US" baseline="0" dirty="0"/>
              <a:t> Average Fresh Vs. Stored Sewage Sludge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Average Fresh</c:v>
          </c:tx>
          <c:spPr>
            <a:ln w="3492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V Average fresh vs. stored'!$A$5:$A$337</c:f>
              <c:numCache>
                <c:formatCode>0</c:formatCode>
                <c:ptCount val="333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</c:numCache>
            </c:numRef>
          </c:xVal>
          <c:yVal>
            <c:numRef>
              <c:f>'V Average fresh vs. stored'!$E$7:$E$337</c:f>
              <c:numCache>
                <c:formatCode>General</c:formatCode>
                <c:ptCount val="331"/>
                <c:pt idx="0">
                  <c:v>1.4739878845854844E-2</c:v>
                </c:pt>
                <c:pt idx="1">
                  <c:v>2.6679288054477807E-2</c:v>
                </c:pt>
                <c:pt idx="2">
                  <c:v>3.5948311625493057E-2</c:v>
                </c:pt>
                <c:pt idx="3">
                  <c:v>4.3618057758232222E-2</c:v>
                </c:pt>
                <c:pt idx="4">
                  <c:v>4.9250821633533871E-2</c:v>
                </c:pt>
                <c:pt idx="5">
                  <c:v>5.4600083479243521E-2</c:v>
                </c:pt>
                <c:pt idx="6">
                  <c:v>5.8935858695898763E-2</c:v>
                </c:pt>
                <c:pt idx="7">
                  <c:v>6.2774068864888247E-2</c:v>
                </c:pt>
                <c:pt idx="8">
                  <c:v>6.610721238304082E-2</c:v>
                </c:pt>
                <c:pt idx="9">
                  <c:v>6.8940774155871687E-2</c:v>
                </c:pt>
                <c:pt idx="10">
                  <c:v>7.1529314488870566E-2</c:v>
                </c:pt>
                <c:pt idx="11">
                  <c:v>7.4342141852557622E-2</c:v>
                </c:pt>
                <c:pt idx="12">
                  <c:v>7.690798248158405E-2</c:v>
                </c:pt>
                <c:pt idx="13">
                  <c:v>7.9466128139230471E-2</c:v>
                </c:pt>
                <c:pt idx="14">
                  <c:v>8.2493206071726152E-2</c:v>
                </c:pt>
                <c:pt idx="15">
                  <c:v>8.526112318057294E-2</c:v>
                </c:pt>
                <c:pt idx="16">
                  <c:v>8.8033179906784387E-2</c:v>
                </c:pt>
                <c:pt idx="17">
                  <c:v>9.1251442728445389E-2</c:v>
                </c:pt>
                <c:pt idx="18">
                  <c:v>9.3530632138441303E-2</c:v>
                </c:pt>
                <c:pt idx="19">
                  <c:v>8.0581939427860003E-2</c:v>
                </c:pt>
                <c:pt idx="20">
                  <c:v>7.5535104822459911E-2</c:v>
                </c:pt>
                <c:pt idx="21">
                  <c:v>9.4812865699108892E-2</c:v>
                </c:pt>
                <c:pt idx="22">
                  <c:v>0.10381654589190488</c:v>
                </c:pt>
                <c:pt idx="23">
                  <c:v>0.1100232119060955</c:v>
                </c:pt>
                <c:pt idx="24">
                  <c:v>0.11511597157680457</c:v>
                </c:pt>
                <c:pt idx="25">
                  <c:v>0.1199136790698881</c:v>
                </c:pt>
                <c:pt idx="26">
                  <c:v>0.12388933038808114</c:v>
                </c:pt>
                <c:pt idx="27">
                  <c:v>0.12757712229535706</c:v>
                </c:pt>
                <c:pt idx="28">
                  <c:v>0.13098983064599815</c:v>
                </c:pt>
                <c:pt idx="29">
                  <c:v>0.13386193737496685</c:v>
                </c:pt>
                <c:pt idx="30">
                  <c:v>0.13672422782151575</c:v>
                </c:pt>
                <c:pt idx="31">
                  <c:v>0.13984262693058261</c:v>
                </c:pt>
                <c:pt idx="32">
                  <c:v>0.14216463197863949</c:v>
                </c:pt>
                <c:pt idx="33">
                  <c:v>0.14448854723594484</c:v>
                </c:pt>
                <c:pt idx="34">
                  <c:v>0.14680612650712213</c:v>
                </c:pt>
                <c:pt idx="35">
                  <c:v>0.14937058021156371</c:v>
                </c:pt>
                <c:pt idx="36">
                  <c:v>0.15141269891878109</c:v>
                </c:pt>
                <c:pt idx="37">
                  <c:v>0.15344978219153516</c:v>
                </c:pt>
                <c:pt idx="38">
                  <c:v>0.15548185537687417</c:v>
                </c:pt>
                <c:pt idx="39">
                  <c:v>0.15471923219893705</c:v>
                </c:pt>
                <c:pt idx="40">
                  <c:v>0.15828395076342208</c:v>
                </c:pt>
                <c:pt idx="41">
                  <c:v>0.16842690331379281</c:v>
                </c:pt>
                <c:pt idx="42">
                  <c:v>0.17694616933228582</c:v>
                </c:pt>
                <c:pt idx="43">
                  <c:v>0.18438313902939077</c:v>
                </c:pt>
                <c:pt idx="44">
                  <c:v>0.19101836055434429</c:v>
                </c:pt>
                <c:pt idx="45">
                  <c:v>0.19417780922031433</c:v>
                </c:pt>
                <c:pt idx="46">
                  <c:v>0.20013784002018967</c:v>
                </c:pt>
                <c:pt idx="47">
                  <c:v>0.21014995783584692</c:v>
                </c:pt>
                <c:pt idx="48">
                  <c:v>0.21674622263038182</c:v>
                </c:pt>
                <c:pt idx="49">
                  <c:v>0.22274642527088487</c:v>
                </c:pt>
                <c:pt idx="50">
                  <c:v>0.22762005801040294</c:v>
                </c:pt>
                <c:pt idx="51">
                  <c:v>0.23192798726744171</c:v>
                </c:pt>
                <c:pt idx="52">
                  <c:v>0.23594720741109634</c:v>
                </c:pt>
                <c:pt idx="53">
                  <c:v>0.24021177388012313</c:v>
                </c:pt>
                <c:pt idx="54">
                  <c:v>0.24419214412550425</c:v>
                </c:pt>
                <c:pt idx="55">
                  <c:v>0.24735882038374787</c:v>
                </c:pt>
                <c:pt idx="56">
                  <c:v>0.25051652714859524</c:v>
                </c:pt>
                <c:pt idx="57">
                  <c:v>0.2533973578442717</c:v>
                </c:pt>
                <c:pt idx="58">
                  <c:v>0.25574890698021702</c:v>
                </c:pt>
                <c:pt idx="59">
                  <c:v>0.25809396833765869</c:v>
                </c:pt>
                <c:pt idx="60">
                  <c:v>0.26095045095244435</c:v>
                </c:pt>
                <c:pt idx="61">
                  <c:v>0.25888059733338481</c:v>
                </c:pt>
                <c:pt idx="62">
                  <c:v>0.26303430929776089</c:v>
                </c:pt>
                <c:pt idx="63">
                  <c:v>0.26716411710253835</c:v>
                </c:pt>
                <c:pt idx="64">
                  <c:v>0.2710206074998478</c:v>
                </c:pt>
                <c:pt idx="65">
                  <c:v>0.27511534665316828</c:v>
                </c:pt>
                <c:pt idx="66">
                  <c:v>0.27868172052804335</c:v>
                </c:pt>
                <c:pt idx="67">
                  <c:v>0.28248253388286121</c:v>
                </c:pt>
                <c:pt idx="68">
                  <c:v>0.2895555887077495</c:v>
                </c:pt>
                <c:pt idx="69">
                  <c:v>0.29650154500679438</c:v>
                </c:pt>
                <c:pt idx="70">
                  <c:v>0.30090955521005275</c:v>
                </c:pt>
                <c:pt idx="71">
                  <c:v>0.30419786058718207</c:v>
                </c:pt>
                <c:pt idx="72">
                  <c:v>0.30692822996212127</c:v>
                </c:pt>
                <c:pt idx="73">
                  <c:v>0.30883326764850327</c:v>
                </c:pt>
                <c:pt idx="74">
                  <c:v>0.31100572039813607</c:v>
                </c:pt>
                <c:pt idx="75">
                  <c:v>0.31236083151492594</c:v>
                </c:pt>
                <c:pt idx="76">
                  <c:v>0.3137121421279479</c:v>
                </c:pt>
                <c:pt idx="77">
                  <c:v>0.31479233850173205</c:v>
                </c:pt>
                <c:pt idx="78">
                  <c:v>0.31614151755576447</c:v>
                </c:pt>
                <c:pt idx="79">
                  <c:v>0.31775680370848874</c:v>
                </c:pt>
                <c:pt idx="80">
                  <c:v>0.31936902624678959</c:v>
                </c:pt>
                <c:pt idx="81">
                  <c:v>0.32044100136500392</c:v>
                </c:pt>
                <c:pt idx="82">
                  <c:v>0.32178126083749442</c:v>
                </c:pt>
                <c:pt idx="83">
                  <c:v>0.32311828157565697</c:v>
                </c:pt>
                <c:pt idx="84">
                  <c:v>0.3241854496118412</c:v>
                </c:pt>
                <c:pt idx="85">
                  <c:v>0.32578552736285316</c:v>
                </c:pt>
                <c:pt idx="86">
                  <c:v>0.32764919740403786</c:v>
                </c:pt>
                <c:pt idx="87">
                  <c:v>0.32977371516319764</c:v>
                </c:pt>
                <c:pt idx="88">
                  <c:v>0.33242368570998887</c:v>
                </c:pt>
                <c:pt idx="89">
                  <c:v>0.32740513146433647</c:v>
                </c:pt>
                <c:pt idx="90">
                  <c:v>0.33218905565654228</c:v>
                </c:pt>
                <c:pt idx="91">
                  <c:v>0.33615194475699917</c:v>
                </c:pt>
                <c:pt idx="92">
                  <c:v>0.33983429354629696</c:v>
                </c:pt>
                <c:pt idx="93">
                  <c:v>0.34585771434867435</c:v>
                </c:pt>
                <c:pt idx="94">
                  <c:v>0.35003068962171918</c:v>
                </c:pt>
                <c:pt idx="95">
                  <c:v>0.35418328016181655</c:v>
                </c:pt>
                <c:pt idx="96">
                  <c:v>0.35776515083138549</c:v>
                </c:pt>
                <c:pt idx="97">
                  <c:v>0.36051027921883733</c:v>
                </c:pt>
                <c:pt idx="98">
                  <c:v>0.36379173616873844</c:v>
                </c:pt>
                <c:pt idx="99">
                  <c:v>0.36596938166281018</c:v>
                </c:pt>
                <c:pt idx="100">
                  <c:v>0.36841474189896711</c:v>
                </c:pt>
                <c:pt idx="101">
                  <c:v>0.37085308796293587</c:v>
                </c:pt>
                <c:pt idx="102">
                  <c:v>0.37247400264012365</c:v>
                </c:pt>
                <c:pt idx="103">
                  <c:v>0.3746308682009733</c:v>
                </c:pt>
                <c:pt idx="104">
                  <c:v>0.37570710141097813</c:v>
                </c:pt>
                <c:pt idx="105">
                  <c:v>0.37704994569067035</c:v>
                </c:pt>
                <c:pt idx="106">
                  <c:v>0.37812311891167494</c:v>
                </c:pt>
                <c:pt idx="107">
                  <c:v>0.37919255320168449</c:v>
                </c:pt>
                <c:pt idx="108">
                  <c:v>0.3799951058872999</c:v>
                </c:pt>
                <c:pt idx="109">
                  <c:v>0.38159869733089907</c:v>
                </c:pt>
                <c:pt idx="110">
                  <c:v>0.38266605376387708</c:v>
                </c:pt>
                <c:pt idx="111">
                  <c:v>0.38426461655870137</c:v>
                </c:pt>
                <c:pt idx="112">
                  <c:v>0.38639011689541353</c:v>
                </c:pt>
                <c:pt idx="113">
                  <c:v>0.38877748799616341</c:v>
                </c:pt>
                <c:pt idx="114">
                  <c:v>0.39142477174694418</c:v>
                </c:pt>
                <c:pt idx="115">
                  <c:v>0.39353245890390642</c:v>
                </c:pt>
                <c:pt idx="116">
                  <c:v>0.39589988415314908</c:v>
                </c:pt>
                <c:pt idx="117">
                  <c:v>0.39904768480713376</c:v>
                </c:pt>
                <c:pt idx="118">
                  <c:v>0.40192045678527127</c:v>
                </c:pt>
                <c:pt idx="119">
                  <c:v>0.40374595947028863</c:v>
                </c:pt>
                <c:pt idx="120">
                  <c:v>0.40530542344148263</c:v>
                </c:pt>
                <c:pt idx="121">
                  <c:v>0.40634107722654861</c:v>
                </c:pt>
                <c:pt idx="122">
                  <c:v>0.40634107722654861</c:v>
                </c:pt>
                <c:pt idx="123">
                  <c:v>0.40711843446566731</c:v>
                </c:pt>
                <c:pt idx="124">
                  <c:v>0.40789508150708281</c:v>
                </c:pt>
                <c:pt idx="125">
                  <c:v>0.40841023836415918</c:v>
                </c:pt>
                <c:pt idx="126">
                  <c:v>0.40918570577623709</c:v>
                </c:pt>
                <c:pt idx="127">
                  <c:v>0.40996046643956802</c:v>
                </c:pt>
                <c:pt idx="128">
                  <c:v>0.41073452164122992</c:v>
                </c:pt>
                <c:pt idx="129">
                  <c:v>0.41124780073321382</c:v>
                </c:pt>
                <c:pt idx="130">
                  <c:v>0.41202068445247536</c:v>
                </c:pt>
                <c:pt idx="131">
                  <c:v>0.41305270246165632</c:v>
                </c:pt>
                <c:pt idx="132">
                  <c:v>0.41381936503403488</c:v>
                </c:pt>
                <c:pt idx="133">
                  <c:v>0.41458991604418288</c:v>
                </c:pt>
                <c:pt idx="134">
                  <c:v>0.41587553073670952</c:v>
                </c:pt>
                <c:pt idx="135">
                  <c:v>0.41715424694697534</c:v>
                </c:pt>
                <c:pt idx="136">
                  <c:v>0.41868931785644942</c:v>
                </c:pt>
                <c:pt idx="137">
                  <c:v>0.42047958863097534</c:v>
                </c:pt>
                <c:pt idx="138">
                  <c:v>0.42328048588727546</c:v>
                </c:pt>
                <c:pt idx="139">
                  <c:v>0.4255665796732428</c:v>
                </c:pt>
                <c:pt idx="140">
                  <c:v>0.42860381073257131</c:v>
                </c:pt>
                <c:pt idx="141">
                  <c:v>0.43264542854519389</c:v>
                </c:pt>
                <c:pt idx="142">
                  <c:v>0.4364139193183334</c:v>
                </c:pt>
                <c:pt idx="143">
                  <c:v>0.43891485017640747</c:v>
                </c:pt>
                <c:pt idx="144">
                  <c:v>0.4401622562731089</c:v>
                </c:pt>
                <c:pt idx="145">
                  <c:v>0.44115804585647839</c:v>
                </c:pt>
                <c:pt idx="146">
                  <c:v>0.4421538909720632</c:v>
                </c:pt>
                <c:pt idx="147">
                  <c:v>0.44215119869645858</c:v>
                </c:pt>
                <c:pt idx="148">
                  <c:v>0.44289652861778445</c:v>
                </c:pt>
                <c:pt idx="149">
                  <c:v>0.44339023588229098</c:v>
                </c:pt>
                <c:pt idx="150">
                  <c:v>0.44413782623649789</c:v>
                </c:pt>
                <c:pt idx="151">
                  <c:v>0.44462797929842984</c:v>
                </c:pt>
                <c:pt idx="152">
                  <c:v>0.44537470210853075</c:v>
                </c:pt>
                <c:pt idx="153">
                  <c:v>0.44636440381131931</c:v>
                </c:pt>
                <c:pt idx="154">
                  <c:v>0.44710075166333835</c:v>
                </c:pt>
                <c:pt idx="155">
                  <c:v>0.44759521519643336</c:v>
                </c:pt>
                <c:pt idx="156">
                  <c:v>0.44809163442103062</c:v>
                </c:pt>
                <c:pt idx="157">
                  <c:v>0.44907810523493191</c:v>
                </c:pt>
                <c:pt idx="158">
                  <c:v>0.45031077707665723</c:v>
                </c:pt>
                <c:pt idx="159">
                  <c:v>0.45153819845390969</c:v>
                </c:pt>
                <c:pt idx="160">
                  <c:v>0.45350085809928009</c:v>
                </c:pt>
                <c:pt idx="161">
                  <c:v>0.45522012626297598</c:v>
                </c:pt>
                <c:pt idx="162">
                  <c:v>0.45717431346662329</c:v>
                </c:pt>
                <c:pt idx="163">
                  <c:v>0.46816445635477272</c:v>
                </c:pt>
                <c:pt idx="164">
                  <c:v>0.47147898936366217</c:v>
                </c:pt>
                <c:pt idx="165">
                  <c:v>0.47395523425546565</c:v>
                </c:pt>
                <c:pt idx="166">
                  <c:v>0.47642428707190981</c:v>
                </c:pt>
                <c:pt idx="167">
                  <c:v>0.47806555533714556</c:v>
                </c:pt>
                <c:pt idx="168">
                  <c:v>0.4791556082390524</c:v>
                </c:pt>
                <c:pt idx="169">
                  <c:v>0.47997361206251571</c:v>
                </c:pt>
                <c:pt idx="170">
                  <c:v>0.47997361206251571</c:v>
                </c:pt>
                <c:pt idx="171">
                  <c:v>0.48024917487674701</c:v>
                </c:pt>
                <c:pt idx="172">
                  <c:v>0.48051939316696718</c:v>
                </c:pt>
                <c:pt idx="173">
                  <c:v>0.48079082952302704</c:v>
                </c:pt>
                <c:pt idx="174">
                  <c:v>0.48106078821262255</c:v>
                </c:pt>
                <c:pt idx="175">
                  <c:v>0.48160578613308841</c:v>
                </c:pt>
                <c:pt idx="176">
                  <c:v>0.48187696171831912</c:v>
                </c:pt>
                <c:pt idx="177">
                  <c:v>0.48214640270019654</c:v>
                </c:pt>
                <c:pt idx="178">
                  <c:v>0.48296153524640723</c:v>
                </c:pt>
                <c:pt idx="179">
                  <c:v>0.48350696168145252</c:v>
                </c:pt>
                <c:pt idx="180">
                  <c:v>0.48377588693745793</c:v>
                </c:pt>
                <c:pt idx="181">
                  <c:v>0.48512852367106118</c:v>
                </c:pt>
                <c:pt idx="182">
                  <c:v>0.48567092449582133</c:v>
                </c:pt>
                <c:pt idx="183">
                  <c:v>0.48729444934022287</c:v>
                </c:pt>
                <c:pt idx="184">
                  <c:v>0.48783120332161206</c:v>
                </c:pt>
                <c:pt idx="185">
                  <c:v>0.48999120819567032</c:v>
                </c:pt>
                <c:pt idx="186">
                  <c:v>0.49160651282024109</c:v>
                </c:pt>
                <c:pt idx="187">
                  <c:v>0.49348683893300765</c:v>
                </c:pt>
                <c:pt idx="188">
                  <c:v>0.49536089108992626</c:v>
                </c:pt>
                <c:pt idx="189">
                  <c:v>0.49750179088488306</c:v>
                </c:pt>
                <c:pt idx="190">
                  <c:v>0.49936921911904797</c:v>
                </c:pt>
                <c:pt idx="191">
                  <c:v>0.50096682280793192</c:v>
                </c:pt>
                <c:pt idx="192">
                  <c:v>0.50149906225296215</c:v>
                </c:pt>
                <c:pt idx="193">
                  <c:v>0.50149906225296215</c:v>
                </c:pt>
                <c:pt idx="194">
                  <c:v>0.50149906225296215</c:v>
                </c:pt>
                <c:pt idx="195">
                  <c:v>0.50122996258757757</c:v>
                </c:pt>
                <c:pt idx="196">
                  <c:v>0.50149260395592976</c:v>
                </c:pt>
                <c:pt idx="197">
                  <c:v>0.50175766796820009</c:v>
                </c:pt>
                <c:pt idx="198">
                  <c:v>0.50175766796820009</c:v>
                </c:pt>
                <c:pt idx="199">
                  <c:v>0.50228941644847136</c:v>
                </c:pt>
                <c:pt idx="200">
                  <c:v>0.50281638310457988</c:v>
                </c:pt>
                <c:pt idx="201">
                  <c:v>0.50255181597863874</c:v>
                </c:pt>
                <c:pt idx="202">
                  <c:v>0.50334763796112536</c:v>
                </c:pt>
                <c:pt idx="203">
                  <c:v>0.50387386818418911</c:v>
                </c:pt>
                <c:pt idx="204">
                  <c:v>0.50387386818418911</c:v>
                </c:pt>
                <c:pt idx="205">
                  <c:v>0.50440413529075745</c:v>
                </c:pt>
                <c:pt idx="206">
                  <c:v>0.50492963136075686</c:v>
                </c:pt>
                <c:pt idx="207">
                  <c:v>0.50651683525706759</c:v>
                </c:pt>
                <c:pt idx="208">
                  <c:v>0.50784063074078434</c:v>
                </c:pt>
                <c:pt idx="209">
                  <c:v>0.50942241120200082</c:v>
                </c:pt>
                <c:pt idx="210">
                  <c:v>0.5104715607967818</c:v>
                </c:pt>
                <c:pt idx="211">
                  <c:v>0.51204845986632852</c:v>
                </c:pt>
                <c:pt idx="212">
                  <c:v>0.51309731675973691</c:v>
                </c:pt>
                <c:pt idx="213">
                  <c:v>0.51414659133500307</c:v>
                </c:pt>
                <c:pt idx="214">
                  <c:v>0.51597807722445976</c:v>
                </c:pt>
                <c:pt idx="215">
                  <c:v>0.51727968440794259</c:v>
                </c:pt>
                <c:pt idx="216">
                  <c:v>0.5185838405591594</c:v>
                </c:pt>
                <c:pt idx="217">
                  <c:v>0.51961700543011424</c:v>
                </c:pt>
                <c:pt idx="218">
                  <c:v>0.52040195570082848</c:v>
                </c:pt>
                <c:pt idx="219">
                  <c:v>0.52118125937648541</c:v>
                </c:pt>
                <c:pt idx="220">
                  <c:v>0.52195984928855677</c:v>
                </c:pt>
                <c:pt idx="221">
                  <c:v>0.52273772674334384</c:v>
                </c:pt>
                <c:pt idx="222">
                  <c:v>0.52324821815945788</c:v>
                </c:pt>
                <c:pt idx="223">
                  <c:v>0.52350696476012404</c:v>
                </c:pt>
                <c:pt idx="224">
                  <c:v>0.52428343122837717</c:v>
                </c:pt>
                <c:pt idx="225">
                  <c:v>0.52505918911384053</c:v>
                </c:pt>
                <c:pt idx="226">
                  <c:v>0.52557620271561578</c:v>
                </c:pt>
                <c:pt idx="227">
                  <c:v>0.52608833139866396</c:v>
                </c:pt>
                <c:pt idx="228">
                  <c:v>0.52686244643886193</c:v>
                </c:pt>
                <c:pt idx="229">
                  <c:v>0.52763585717645178</c:v>
                </c:pt>
                <c:pt idx="230">
                  <c:v>0.52840856489188071</c:v>
                </c:pt>
                <c:pt idx="231">
                  <c:v>0.52943766774403322</c:v>
                </c:pt>
                <c:pt idx="232">
                  <c:v>0.53252195560614091</c:v>
                </c:pt>
                <c:pt idx="233">
                  <c:v>0.53636337777866516</c:v>
                </c:pt>
                <c:pt idx="234">
                  <c:v>0.53993297241338933</c:v>
                </c:pt>
                <c:pt idx="235">
                  <c:v>0.54272129612788922</c:v>
                </c:pt>
                <c:pt idx="236">
                  <c:v>0.54550514021726559</c:v>
                </c:pt>
                <c:pt idx="237">
                  <c:v>0.548283762642233</c:v>
                </c:pt>
                <c:pt idx="238">
                  <c:v>0.55154793426236448</c:v>
                </c:pt>
                <c:pt idx="239">
                  <c:v>0.55279580416981522</c:v>
                </c:pt>
                <c:pt idx="240">
                  <c:v>0.55279580416981522</c:v>
                </c:pt>
                <c:pt idx="241">
                  <c:v>0.55329620303471261</c:v>
                </c:pt>
                <c:pt idx="242">
                  <c:v>0.55379166949621894</c:v>
                </c:pt>
                <c:pt idx="243">
                  <c:v>0.55354207477814787</c:v>
                </c:pt>
                <c:pt idx="244">
                  <c:v>0.55353758298108913</c:v>
                </c:pt>
                <c:pt idx="245">
                  <c:v>0.55353758298108913</c:v>
                </c:pt>
                <c:pt idx="246">
                  <c:v>0.5540284555463787</c:v>
                </c:pt>
                <c:pt idx="247">
                  <c:v>0.5540284555463787</c:v>
                </c:pt>
                <c:pt idx="248">
                  <c:v>0.55452799691444099</c:v>
                </c:pt>
                <c:pt idx="249">
                  <c:v>0.55503189904747208</c:v>
                </c:pt>
                <c:pt idx="250">
                  <c:v>0.55502261174536771</c:v>
                </c:pt>
                <c:pt idx="251">
                  <c:v>0.55577087514275614</c:v>
                </c:pt>
                <c:pt idx="252">
                  <c:v>0.55577087514275614</c:v>
                </c:pt>
                <c:pt idx="253">
                  <c:v>0.55676763453984457</c:v>
                </c:pt>
                <c:pt idx="254">
                  <c:v>0.55750980530713701</c:v>
                </c:pt>
                <c:pt idx="255">
                  <c:v>0.55651009150131259</c:v>
                </c:pt>
                <c:pt idx="256">
                  <c:v>0.55576313021322665</c:v>
                </c:pt>
                <c:pt idx="257">
                  <c:v>0.55551397612489872</c:v>
                </c:pt>
                <c:pt idx="258">
                  <c:v>0.556755345450762</c:v>
                </c:pt>
                <c:pt idx="259">
                  <c:v>0.55875186134350374</c:v>
                </c:pt>
                <c:pt idx="260">
                  <c:v>0.55974016976437035</c:v>
                </c:pt>
                <c:pt idx="261">
                  <c:v>0.56072719506259128</c:v>
                </c:pt>
                <c:pt idx="262">
                  <c:v>0.55973607903022782</c:v>
                </c:pt>
                <c:pt idx="263">
                  <c:v>0.57982863560852094</c:v>
                </c:pt>
                <c:pt idx="264">
                  <c:v>0.5825572588416138</c:v>
                </c:pt>
                <c:pt idx="265">
                  <c:v>0.58391992528053749</c:v>
                </c:pt>
                <c:pt idx="266">
                  <c:v>0.58500494072508025</c:v>
                </c:pt>
                <c:pt idx="267">
                  <c:v>0.58527997508439888</c:v>
                </c:pt>
                <c:pt idx="268">
                  <c:v>0.58554967467169128</c:v>
                </c:pt>
                <c:pt idx="269">
                  <c:v>0.58608847977864442</c:v>
                </c:pt>
                <c:pt idx="270">
                  <c:v>0.58636325066985362</c:v>
                </c:pt>
                <c:pt idx="271">
                  <c:v>0.58690154086055457</c:v>
                </c:pt>
                <c:pt idx="272">
                  <c:v>0.58690154086055457</c:v>
                </c:pt>
                <c:pt idx="273">
                  <c:v>0.58690154086055457</c:v>
                </c:pt>
                <c:pt idx="274">
                  <c:v>0.58744497404395324</c:v>
                </c:pt>
                <c:pt idx="275">
                  <c:v>0.58744497404395324</c:v>
                </c:pt>
                <c:pt idx="276">
                  <c:v>0.58825673864476913</c:v>
                </c:pt>
                <c:pt idx="277">
                  <c:v>0.58879374531778195</c:v>
                </c:pt>
                <c:pt idx="278">
                  <c:v>0.58933606865415833</c:v>
                </c:pt>
                <c:pt idx="279">
                  <c:v>0.59041418638976439</c:v>
                </c:pt>
                <c:pt idx="280">
                  <c:v>0.59176441429470072</c:v>
                </c:pt>
                <c:pt idx="281">
                  <c:v>0.59310678125037841</c:v>
                </c:pt>
                <c:pt idx="282">
                  <c:v>0.59499228853564634</c:v>
                </c:pt>
                <c:pt idx="283">
                  <c:v>0.59633535550772743</c:v>
                </c:pt>
                <c:pt idx="284">
                  <c:v>0.59874533491839688</c:v>
                </c:pt>
                <c:pt idx="285">
                  <c:v>0.6006125653125397</c:v>
                </c:pt>
                <c:pt idx="286">
                  <c:v>0.60380976417343291</c:v>
                </c:pt>
                <c:pt idx="287">
                  <c:v>0.604875168669473</c:v>
                </c:pt>
                <c:pt idx="288">
                  <c:v>0.6064657843886162</c:v>
                </c:pt>
                <c:pt idx="289">
                  <c:v>0.60672887197055936</c:v>
                </c:pt>
                <c:pt idx="290">
                  <c:v>0.60699151333891155</c:v>
                </c:pt>
                <c:pt idx="291">
                  <c:v>0.60672867074028336</c:v>
                </c:pt>
                <c:pt idx="292">
                  <c:v>0.60672366473092509</c:v>
                </c:pt>
                <c:pt idx="293">
                  <c:v>0.60672366473092509</c:v>
                </c:pt>
                <c:pt idx="294">
                  <c:v>0.60672366473092509</c:v>
                </c:pt>
                <c:pt idx="295">
                  <c:v>0.60672366473092509</c:v>
                </c:pt>
                <c:pt idx="296">
                  <c:v>0.6069860608463421</c:v>
                </c:pt>
                <c:pt idx="297">
                  <c:v>0.6069860608463421</c:v>
                </c:pt>
                <c:pt idx="298">
                  <c:v>0.6075165565703321</c:v>
                </c:pt>
                <c:pt idx="299">
                  <c:v>0.6075165565703321</c:v>
                </c:pt>
                <c:pt idx="300">
                  <c:v>0.60777939916896018</c:v>
                </c:pt>
                <c:pt idx="301">
                  <c:v>0.60830939974134079</c:v>
                </c:pt>
                <c:pt idx="302">
                  <c:v>0.608833660909602</c:v>
                </c:pt>
                <c:pt idx="303">
                  <c:v>0.61015547506717993</c:v>
                </c:pt>
                <c:pt idx="304">
                  <c:v>0.61147438357416362</c:v>
                </c:pt>
                <c:pt idx="305">
                  <c:v>0.61278586326361861</c:v>
                </c:pt>
                <c:pt idx="306">
                  <c:v>0.61436175964961548</c:v>
                </c:pt>
                <c:pt idx="307">
                  <c:v>0.61620084391178509</c:v>
                </c:pt>
                <c:pt idx="308">
                  <c:v>0.61828985426845151</c:v>
                </c:pt>
                <c:pt idx="309">
                  <c:v>0.6203790003860884</c:v>
                </c:pt>
                <c:pt idx="310">
                  <c:v>0.62298083210242516</c:v>
                </c:pt>
                <c:pt idx="311">
                  <c:v>0.6242799286545121</c:v>
                </c:pt>
                <c:pt idx="312">
                  <c:v>0.6242799286545121</c:v>
                </c:pt>
                <c:pt idx="313">
                  <c:v>0.6245377299757896</c:v>
                </c:pt>
                <c:pt idx="314">
                  <c:v>0.6240172311494977</c:v>
                </c:pt>
                <c:pt idx="315">
                  <c:v>0.6240172311494977</c:v>
                </c:pt>
                <c:pt idx="316">
                  <c:v>0.62297643740281006</c:v>
                </c:pt>
                <c:pt idx="317">
                  <c:v>0.62297643740281006</c:v>
                </c:pt>
                <c:pt idx="318">
                  <c:v>0.62297643740281006</c:v>
                </c:pt>
                <c:pt idx="319">
                  <c:v>0.62271840040978821</c:v>
                </c:pt>
                <c:pt idx="320">
                  <c:v>0.62271840040978821</c:v>
                </c:pt>
                <c:pt idx="321">
                  <c:v>0.62271840040978821</c:v>
                </c:pt>
                <c:pt idx="322">
                  <c:v>0.62245474259810196</c:v>
                </c:pt>
                <c:pt idx="323">
                  <c:v>0.62245474259810196</c:v>
                </c:pt>
                <c:pt idx="324">
                  <c:v>0.62245474259810196</c:v>
                </c:pt>
                <c:pt idx="325">
                  <c:v>0.62245474259810196</c:v>
                </c:pt>
                <c:pt idx="326">
                  <c:v>0.62141741695994013</c:v>
                </c:pt>
                <c:pt idx="327">
                  <c:v>0.62193327766070705</c:v>
                </c:pt>
                <c:pt idx="328">
                  <c:v>0.62349234186506852</c:v>
                </c:pt>
                <c:pt idx="329">
                  <c:v>0.62427044692618694</c:v>
                </c:pt>
                <c:pt idx="330">
                  <c:v>0.62660262742051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F1A-1C4B-861C-327C3D1E8B5E}"/>
            </c:ext>
          </c:extLst>
        </c:ser>
        <c:ser>
          <c:idx val="1"/>
          <c:order val="1"/>
          <c:tx>
            <c:v>Average Stored</c:v>
          </c:tx>
          <c:spPr>
            <a:ln w="3492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19050">
                <a:noFill/>
              </a:ln>
              <a:effectLst/>
            </c:spPr>
          </c:marker>
          <c:xVal>
            <c:numRef>
              <c:f>'V Average fresh vs. stored'!$A$5:$A$337</c:f>
              <c:numCache>
                <c:formatCode>0</c:formatCode>
                <c:ptCount val="333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</c:numCache>
            </c:numRef>
          </c:xVal>
          <c:yVal>
            <c:numRef>
              <c:f>'V Average fresh vs. stored'!$I$7:$I$336</c:f>
              <c:numCache>
                <c:formatCode>General</c:formatCode>
                <c:ptCount val="330"/>
                <c:pt idx="0">
                  <c:v>8.6761300453775201E-3</c:v>
                </c:pt>
                <c:pt idx="1">
                  <c:v>1.5242993105245115E-2</c:v>
                </c:pt>
                <c:pt idx="2">
                  <c:v>1.9252906919311159E-2</c:v>
                </c:pt>
                <c:pt idx="3">
                  <c:v>2.1247696032254366E-2</c:v>
                </c:pt>
                <c:pt idx="4">
                  <c:v>2.2741252511421162E-2</c:v>
                </c:pt>
                <c:pt idx="5">
                  <c:v>2.3733749751198893E-2</c:v>
                </c:pt>
                <c:pt idx="6">
                  <c:v>2.3980355822398564E-2</c:v>
                </c:pt>
                <c:pt idx="7">
                  <c:v>2.447833570079359E-2</c:v>
                </c:pt>
                <c:pt idx="8">
                  <c:v>2.4972769106375511E-2</c:v>
                </c:pt>
                <c:pt idx="9">
                  <c:v>2.5218944875583908E-2</c:v>
                </c:pt>
                <c:pt idx="10">
                  <c:v>2.5220807866689871E-2</c:v>
                </c:pt>
                <c:pt idx="11">
                  <c:v>2.5716480021725972E-2</c:v>
                </c:pt>
                <c:pt idx="12">
                  <c:v>2.5964086076997933E-2</c:v>
                </c:pt>
                <c:pt idx="13">
                  <c:v>2.6210047257844052E-2</c:v>
                </c:pt>
                <c:pt idx="14">
                  <c:v>2.6706710427608915E-2</c:v>
                </c:pt>
                <c:pt idx="15">
                  <c:v>2.7448682067974073E-2</c:v>
                </c:pt>
                <c:pt idx="16">
                  <c:v>2.7697515017214753E-2</c:v>
                </c:pt>
                <c:pt idx="17">
                  <c:v>2.8190002144516141E-2</c:v>
                </c:pt>
                <c:pt idx="18">
                  <c:v>2.8436739559004828E-2</c:v>
                </c:pt>
                <c:pt idx="19">
                  <c:v>2.5966766629772126E-2</c:v>
                </c:pt>
                <c:pt idx="20">
                  <c:v>2.992354508841796E-2</c:v>
                </c:pt>
                <c:pt idx="21">
                  <c:v>3.3619389589430219E-2</c:v>
                </c:pt>
                <c:pt idx="22">
                  <c:v>3.7295232411127054E-2</c:v>
                </c:pt>
                <c:pt idx="23">
                  <c:v>4.0226276085432729E-2</c:v>
                </c:pt>
                <c:pt idx="24">
                  <c:v>4.2416952473698838E-2</c:v>
                </c:pt>
                <c:pt idx="25">
                  <c:v>4.5571214893130103E-2</c:v>
                </c:pt>
                <c:pt idx="26">
                  <c:v>4.7989537178080778E-2</c:v>
                </c:pt>
                <c:pt idx="27">
                  <c:v>4.9675931435013039E-2</c:v>
                </c:pt>
                <c:pt idx="28">
                  <c:v>5.160359280627317E-2</c:v>
                </c:pt>
                <c:pt idx="29">
                  <c:v>5.3040204284572033E-2</c:v>
                </c:pt>
                <c:pt idx="30">
                  <c:v>5.4239513181296405E-2</c:v>
                </c:pt>
                <c:pt idx="31">
                  <c:v>5.4957739645689209E-2</c:v>
                </c:pt>
                <c:pt idx="32">
                  <c:v>5.6155896427890241E-2</c:v>
                </c:pt>
                <c:pt idx="33">
                  <c:v>5.6392772407294768E-2</c:v>
                </c:pt>
                <c:pt idx="34">
                  <c:v>5.7109170263272745E-2</c:v>
                </c:pt>
                <c:pt idx="35">
                  <c:v>5.7824960650745862E-2</c:v>
                </c:pt>
                <c:pt idx="36">
                  <c:v>5.8540144599150599E-2</c:v>
                </c:pt>
                <c:pt idx="37">
                  <c:v>5.8540144599150599E-2</c:v>
                </c:pt>
                <c:pt idx="38">
                  <c:v>5.9731531218457617E-2</c:v>
                </c:pt>
                <c:pt idx="39">
                  <c:v>5.9969100885743552E-2</c:v>
                </c:pt>
                <c:pt idx="40">
                  <c:v>6.044510244707274E-2</c:v>
                </c:pt>
                <c:pt idx="41">
                  <c:v>6.091796379453699E-2</c:v>
                </c:pt>
                <c:pt idx="42">
                  <c:v>6.2103000718685124E-2</c:v>
                </c:pt>
                <c:pt idx="43">
                  <c:v>6.3054478629750152E-2</c:v>
                </c:pt>
                <c:pt idx="44">
                  <c:v>6.2817907825848354E-2</c:v>
                </c:pt>
                <c:pt idx="45">
                  <c:v>6.5422299876718645E-2</c:v>
                </c:pt>
                <c:pt idx="46">
                  <c:v>6.7309779797246241E-2</c:v>
                </c:pt>
                <c:pt idx="47">
                  <c:v>6.89595800991019E-2</c:v>
                </c:pt>
                <c:pt idx="48">
                  <c:v>6.9898374071268796E-2</c:v>
                </c:pt>
                <c:pt idx="49">
                  <c:v>7.130846978410936E-2</c:v>
                </c:pt>
                <c:pt idx="50">
                  <c:v>7.2012341830791624E-2</c:v>
                </c:pt>
                <c:pt idx="51">
                  <c:v>7.2947634239370049E-2</c:v>
                </c:pt>
                <c:pt idx="52">
                  <c:v>7.3181452390965782E-2</c:v>
                </c:pt>
                <c:pt idx="53">
                  <c:v>7.3179454304369576E-2</c:v>
                </c:pt>
                <c:pt idx="54">
                  <c:v>7.3650338266920676E-2</c:v>
                </c:pt>
                <c:pt idx="55">
                  <c:v>7.4115398163908511E-2</c:v>
                </c:pt>
                <c:pt idx="56">
                  <c:v>7.4352263953086153E-2</c:v>
                </c:pt>
                <c:pt idx="57">
                  <c:v>7.4583510196871317E-2</c:v>
                </c:pt>
                <c:pt idx="58">
                  <c:v>7.5053606437596218E-2</c:v>
                </c:pt>
                <c:pt idx="59">
                  <c:v>7.5053606437596218E-2</c:v>
                </c:pt>
                <c:pt idx="60">
                  <c:v>7.55233098049541E-2</c:v>
                </c:pt>
                <c:pt idx="61">
                  <c:v>7.5987410095122707E-2</c:v>
                </c:pt>
                <c:pt idx="62">
                  <c:v>7.6454545673009702E-2</c:v>
                </c:pt>
                <c:pt idx="63">
                  <c:v>7.7154144353574525E-2</c:v>
                </c:pt>
                <c:pt idx="64">
                  <c:v>7.7853163691822644E-2</c:v>
                </c:pt>
                <c:pt idx="65">
                  <c:v>7.8321302110961763E-2</c:v>
                </c:pt>
                <c:pt idx="66">
                  <c:v>7.901935345682698E-2</c:v>
                </c:pt>
                <c:pt idx="67">
                  <c:v>9.8046368783118287E-2</c:v>
                </c:pt>
                <c:pt idx="68">
                  <c:v>0.10261876904884021</c:v>
                </c:pt>
                <c:pt idx="69">
                  <c:v>0.10662814666212168</c:v>
                </c:pt>
                <c:pt idx="70">
                  <c:v>0.11088738976124657</c:v>
                </c:pt>
                <c:pt idx="71">
                  <c:v>0.11459537174810501</c:v>
                </c:pt>
                <c:pt idx="72">
                  <c:v>0.11749470118690508</c:v>
                </c:pt>
                <c:pt idx="73">
                  <c:v>0.12064825074127278</c:v>
                </c:pt>
                <c:pt idx="74">
                  <c:v>0.12274130781603702</c:v>
                </c:pt>
                <c:pt idx="75">
                  <c:v>0.1250934879376554</c:v>
                </c:pt>
                <c:pt idx="76">
                  <c:v>0.12665615616170875</c:v>
                </c:pt>
                <c:pt idx="77">
                  <c:v>0.12873634035460213</c:v>
                </c:pt>
                <c:pt idx="78">
                  <c:v>0.129775169943075</c:v>
                </c:pt>
                <c:pt idx="79">
                  <c:v>0.13080982482738585</c:v>
                </c:pt>
                <c:pt idx="80">
                  <c:v>0.13210478778825596</c:v>
                </c:pt>
                <c:pt idx="81">
                  <c:v>0.13313931341197879</c:v>
                </c:pt>
                <c:pt idx="82">
                  <c:v>0.13391323918332543</c:v>
                </c:pt>
                <c:pt idx="83">
                  <c:v>0.13442863902068569</c:v>
                </c:pt>
                <c:pt idx="84">
                  <c:v>0.13494514881688979</c:v>
                </c:pt>
                <c:pt idx="85">
                  <c:v>0.13571742001878551</c:v>
                </c:pt>
                <c:pt idx="86">
                  <c:v>0.13648898539808438</c:v>
                </c:pt>
                <c:pt idx="87">
                  <c:v>0.13700407515367</c:v>
                </c:pt>
                <c:pt idx="88">
                  <c:v>0.13777446438613283</c:v>
                </c:pt>
                <c:pt idx="89">
                  <c:v>0.1390571969567668</c:v>
                </c:pt>
                <c:pt idx="90">
                  <c:v>0.13982704612463862</c:v>
                </c:pt>
                <c:pt idx="91">
                  <c:v>0.14110674091277942</c:v>
                </c:pt>
                <c:pt idx="92">
                  <c:v>0.14264005252248771</c:v>
                </c:pt>
                <c:pt idx="93">
                  <c:v>0.14467998674397939</c:v>
                </c:pt>
                <c:pt idx="94">
                  <c:v>0.14620683183886113</c:v>
                </c:pt>
                <c:pt idx="95">
                  <c:v>0.14773283556695693</c:v>
                </c:pt>
                <c:pt idx="96">
                  <c:v>0.14925416925145976</c:v>
                </c:pt>
                <c:pt idx="97">
                  <c:v>0.15077276631424494</c:v>
                </c:pt>
                <c:pt idx="98">
                  <c:v>0.1515307014487543</c:v>
                </c:pt>
                <c:pt idx="99">
                  <c:v>0.15228795671929796</c:v>
                </c:pt>
                <c:pt idx="100">
                  <c:v>0.15304453334447554</c:v>
                </c:pt>
                <c:pt idx="101">
                  <c:v>0.15329717313329241</c:v>
                </c:pt>
                <c:pt idx="102">
                  <c:v>0.15380162841359687</c:v>
                </c:pt>
                <c:pt idx="103">
                  <c:v>0.15455684810836259</c:v>
                </c:pt>
                <c:pt idx="104">
                  <c:v>0.15480880766080682</c:v>
                </c:pt>
                <c:pt idx="105">
                  <c:v>0.15531213312511924</c:v>
                </c:pt>
                <c:pt idx="106">
                  <c:v>0.15531213312511924</c:v>
                </c:pt>
                <c:pt idx="107">
                  <c:v>0.15581463451699212</c:v>
                </c:pt>
                <c:pt idx="108">
                  <c:v>0.15656805476765154</c:v>
                </c:pt>
                <c:pt idx="109">
                  <c:v>0.15681919742074918</c:v>
                </c:pt>
                <c:pt idx="110">
                  <c:v>0.15707025566912455</c:v>
                </c:pt>
                <c:pt idx="111">
                  <c:v>0.15782255582078134</c:v>
                </c:pt>
                <c:pt idx="112">
                  <c:v>0.15857418618397082</c:v>
                </c:pt>
                <c:pt idx="113">
                  <c:v>0.15957561981639026</c:v>
                </c:pt>
                <c:pt idx="114">
                  <c:v>0.16057585513976527</c:v>
                </c:pt>
                <c:pt idx="115">
                  <c:v>0.1620742227358023</c:v>
                </c:pt>
                <c:pt idx="116">
                  <c:v>0.16356988063806427</c:v>
                </c:pt>
                <c:pt idx="117">
                  <c:v>0.16431690858787937</c:v>
                </c:pt>
                <c:pt idx="118">
                  <c:v>0.16580860574504658</c:v>
                </c:pt>
                <c:pt idx="119">
                  <c:v>0.16729772619614466</c:v>
                </c:pt>
                <c:pt idx="120">
                  <c:v>0.16853675341630944</c:v>
                </c:pt>
                <c:pt idx="121">
                  <c:v>0.17002107197488539</c:v>
                </c:pt>
                <c:pt idx="122">
                  <c:v>0.17076192867747644</c:v>
                </c:pt>
                <c:pt idx="123">
                  <c:v>0.17150213580485787</c:v>
                </c:pt>
                <c:pt idx="124">
                  <c:v>0.17199530376278804</c:v>
                </c:pt>
                <c:pt idx="125">
                  <c:v>0.17273443011415676</c:v>
                </c:pt>
                <c:pt idx="126">
                  <c:v>0.1729806442286396</c:v>
                </c:pt>
                <c:pt idx="127">
                  <c:v>0.17347281836214287</c:v>
                </c:pt>
                <c:pt idx="128">
                  <c:v>0.17396469127705297</c:v>
                </c:pt>
                <c:pt idx="129">
                  <c:v>0.1742106524578991</c:v>
                </c:pt>
                <c:pt idx="130">
                  <c:v>0.1742106524578991</c:v>
                </c:pt>
                <c:pt idx="131">
                  <c:v>0.17470209530122158</c:v>
                </c:pt>
                <c:pt idx="132">
                  <c:v>0.17519350241418685</c:v>
                </c:pt>
                <c:pt idx="133">
                  <c:v>0.1754388557906362</c:v>
                </c:pt>
                <c:pt idx="134">
                  <c:v>0.17617497386754946</c:v>
                </c:pt>
                <c:pt idx="135">
                  <c:v>0.17666521878238264</c:v>
                </c:pt>
                <c:pt idx="136">
                  <c:v>0.17715516241325202</c:v>
                </c:pt>
                <c:pt idx="137">
                  <c:v>0.17813489244925082</c:v>
                </c:pt>
                <c:pt idx="138">
                  <c:v>0.17911346995894081</c:v>
                </c:pt>
                <c:pt idx="139">
                  <c:v>0.17984639270483468</c:v>
                </c:pt>
                <c:pt idx="140">
                  <c:v>0.18106710523829514</c:v>
                </c:pt>
                <c:pt idx="141">
                  <c:v>0.18204198517726974</c:v>
                </c:pt>
                <c:pt idx="142">
                  <c:v>0.18277237156242898</c:v>
                </c:pt>
                <c:pt idx="143">
                  <c:v>0.18325871159911425</c:v>
                </c:pt>
                <c:pt idx="144">
                  <c:v>0.18374493349411813</c:v>
                </c:pt>
                <c:pt idx="145">
                  <c:v>0.18423073576202034</c:v>
                </c:pt>
                <c:pt idx="146">
                  <c:v>0.18447384844781367</c:v>
                </c:pt>
                <c:pt idx="147">
                  <c:v>0.18520213459247384</c:v>
                </c:pt>
                <c:pt idx="148">
                  <c:v>0.18520213459247384</c:v>
                </c:pt>
                <c:pt idx="149">
                  <c:v>0.18544431310639151</c:v>
                </c:pt>
                <c:pt idx="150">
                  <c:v>0.18544431310639151</c:v>
                </c:pt>
                <c:pt idx="151">
                  <c:v>0.18592979301206766</c:v>
                </c:pt>
                <c:pt idx="152">
                  <c:v>0.18592927873292039</c:v>
                </c:pt>
                <c:pt idx="153">
                  <c:v>0.18617197196963531</c:v>
                </c:pt>
                <c:pt idx="154">
                  <c:v>0.18665621742036545</c:v>
                </c:pt>
                <c:pt idx="155">
                  <c:v>0.18689879536626183</c:v>
                </c:pt>
                <c:pt idx="156">
                  <c:v>0.18689879536626183</c:v>
                </c:pt>
                <c:pt idx="157">
                  <c:v>0.18689879536626183</c:v>
                </c:pt>
                <c:pt idx="158">
                  <c:v>0.18714034874204341</c:v>
                </c:pt>
                <c:pt idx="159">
                  <c:v>0.18762499355596216</c:v>
                </c:pt>
                <c:pt idx="160">
                  <c:v>0.18762499355596216</c:v>
                </c:pt>
                <c:pt idx="161">
                  <c:v>0.18786633926893784</c:v>
                </c:pt>
                <c:pt idx="162">
                  <c:v>0.18859170602032535</c:v>
                </c:pt>
                <c:pt idx="163">
                  <c:v>0.18883365994475221</c:v>
                </c:pt>
                <c:pt idx="164">
                  <c:v>0.18593469776112861</c:v>
                </c:pt>
                <c:pt idx="165">
                  <c:v>0.1869056575724809</c:v>
                </c:pt>
                <c:pt idx="166">
                  <c:v>0.18835805395188154</c:v>
                </c:pt>
                <c:pt idx="167">
                  <c:v>0.18980795594606967</c:v>
                </c:pt>
                <c:pt idx="168">
                  <c:v>0.19101464724684303</c:v>
                </c:pt>
                <c:pt idx="169">
                  <c:v>0.19221896804770203</c:v>
                </c:pt>
                <c:pt idx="170">
                  <c:v>0.19269989873263402</c:v>
                </c:pt>
                <c:pt idx="171">
                  <c:v>0.19294061419643427</c:v>
                </c:pt>
                <c:pt idx="172">
                  <c:v>0.19294061419643427</c:v>
                </c:pt>
                <c:pt idx="173">
                  <c:v>0.19318123171268467</c:v>
                </c:pt>
                <c:pt idx="174">
                  <c:v>0.19366164400899658</c:v>
                </c:pt>
                <c:pt idx="175">
                  <c:v>0.1934213385527995</c:v>
                </c:pt>
                <c:pt idx="176">
                  <c:v>0.1934213385527995</c:v>
                </c:pt>
                <c:pt idx="177">
                  <c:v>0.19366103572948434</c:v>
                </c:pt>
                <c:pt idx="178">
                  <c:v>0.19342154303767978</c:v>
                </c:pt>
                <c:pt idx="179">
                  <c:v>0.19342154303767978</c:v>
                </c:pt>
                <c:pt idx="180">
                  <c:v>0.19318113114227728</c:v>
                </c:pt>
                <c:pt idx="181">
                  <c:v>0.19342174865852771</c:v>
                </c:pt>
                <c:pt idx="182">
                  <c:v>0.19366144583521261</c:v>
                </c:pt>
                <c:pt idx="183">
                  <c:v>0.19366144583521261</c:v>
                </c:pt>
                <c:pt idx="184">
                  <c:v>0.19366144583521261</c:v>
                </c:pt>
                <c:pt idx="185">
                  <c:v>0.19414144881227688</c:v>
                </c:pt>
                <c:pt idx="186">
                  <c:v>0.19510186661479664</c:v>
                </c:pt>
                <c:pt idx="187">
                  <c:v>0.19630115674555801</c:v>
                </c:pt>
                <c:pt idx="188">
                  <c:v>0.19749861001331451</c:v>
                </c:pt>
                <c:pt idx="189">
                  <c:v>0.19797596647196669</c:v>
                </c:pt>
                <c:pt idx="190">
                  <c:v>0.19893199810042375</c:v>
                </c:pt>
                <c:pt idx="191">
                  <c:v>0.20036386750669025</c:v>
                </c:pt>
                <c:pt idx="192">
                  <c:v>0.20107858999132691</c:v>
                </c:pt>
                <c:pt idx="193">
                  <c:v>0.20131605686100493</c:v>
                </c:pt>
                <c:pt idx="194">
                  <c:v>0.20179270790480963</c:v>
                </c:pt>
                <c:pt idx="195">
                  <c:v>0.20226814712000749</c:v>
                </c:pt>
                <c:pt idx="196">
                  <c:v>0.20274328808002348</c:v>
                </c:pt>
                <c:pt idx="197">
                  <c:v>0.20298125965843658</c:v>
                </c:pt>
                <c:pt idx="198">
                  <c:v>0.20298125965843658</c:v>
                </c:pt>
                <c:pt idx="199">
                  <c:v>0.20345599989262073</c:v>
                </c:pt>
                <c:pt idx="200">
                  <c:v>0.20345599989262073</c:v>
                </c:pt>
                <c:pt idx="201">
                  <c:v>0.20345599989262073</c:v>
                </c:pt>
                <c:pt idx="202">
                  <c:v>0.20345599989262073</c:v>
                </c:pt>
                <c:pt idx="203">
                  <c:v>0.20345599989262073</c:v>
                </c:pt>
                <c:pt idx="204">
                  <c:v>0.20369266599726857</c:v>
                </c:pt>
                <c:pt idx="205">
                  <c:v>0.20393043645027734</c:v>
                </c:pt>
                <c:pt idx="206">
                  <c:v>0.204168110529343</c:v>
                </c:pt>
                <c:pt idx="207">
                  <c:v>0.20369306681167268</c:v>
                </c:pt>
                <c:pt idx="208">
                  <c:v>0.20345539273260713</c:v>
                </c:pt>
                <c:pt idx="209">
                  <c:v>0.20345680042109968</c:v>
                </c:pt>
                <c:pt idx="210">
                  <c:v>0.20416891105782195</c:v>
                </c:pt>
                <c:pt idx="211">
                  <c:v>0.20440537781433585</c:v>
                </c:pt>
                <c:pt idx="212">
                  <c:v>0.20369276442937964</c:v>
                </c:pt>
                <c:pt idx="213">
                  <c:v>0.2039307360077928</c:v>
                </c:pt>
                <c:pt idx="214">
                  <c:v>0.20369306192872716</c:v>
                </c:pt>
                <c:pt idx="215">
                  <c:v>0.20369316592072484</c:v>
                </c:pt>
                <c:pt idx="216">
                  <c:v>0.20226933911791467</c:v>
                </c:pt>
                <c:pt idx="217">
                  <c:v>0.20250771396963471</c:v>
                </c:pt>
                <c:pt idx="218">
                  <c:v>0.20250771396963471</c:v>
                </c:pt>
                <c:pt idx="219">
                  <c:v>0.20250771396963471</c:v>
                </c:pt>
                <c:pt idx="220">
                  <c:v>0.20322062826770493</c:v>
                </c:pt>
                <c:pt idx="221">
                  <c:v>0.20345859984611803</c:v>
                </c:pt>
                <c:pt idx="222">
                  <c:v>0.20393294104763846</c:v>
                </c:pt>
                <c:pt idx="223">
                  <c:v>0.20464465332363921</c:v>
                </c:pt>
                <c:pt idx="224">
                  <c:v>0.204880722389678</c:v>
                </c:pt>
                <c:pt idx="225">
                  <c:v>0.20535576610734826</c:v>
                </c:pt>
                <c:pt idx="226">
                  <c:v>0.20582891118746768</c:v>
                </c:pt>
                <c:pt idx="227">
                  <c:v>0.20582891118746768</c:v>
                </c:pt>
                <c:pt idx="228">
                  <c:v>0.20606628040785238</c:v>
                </c:pt>
                <c:pt idx="229">
                  <c:v>0.20606628040785238</c:v>
                </c:pt>
                <c:pt idx="230">
                  <c:v>0.20630195311884414</c:v>
                </c:pt>
                <c:pt idx="231">
                  <c:v>0.20653902812024447</c:v>
                </c:pt>
                <c:pt idx="232">
                  <c:v>0.20748571735469903</c:v>
                </c:pt>
                <c:pt idx="233">
                  <c:v>0.20701217754658596</c:v>
                </c:pt>
                <c:pt idx="234">
                  <c:v>0.20795847074542229</c:v>
                </c:pt>
                <c:pt idx="235">
                  <c:v>0.20866680025334439</c:v>
                </c:pt>
                <c:pt idx="236">
                  <c:v>0.20961110675481706</c:v>
                </c:pt>
                <c:pt idx="237">
                  <c:v>0.21078882204864399</c:v>
                </c:pt>
                <c:pt idx="238">
                  <c:v>0.21149478227387708</c:v>
                </c:pt>
                <c:pt idx="239">
                  <c:v>0.21290552303199961</c:v>
                </c:pt>
                <c:pt idx="240">
                  <c:v>0.21407852711009481</c:v>
                </c:pt>
                <c:pt idx="241">
                  <c:v>0.21454703578554288</c:v>
                </c:pt>
                <c:pt idx="242">
                  <c:v>0.21548457143648303</c:v>
                </c:pt>
                <c:pt idx="243">
                  <c:v>0.21595182526885373</c:v>
                </c:pt>
                <c:pt idx="244">
                  <c:v>0.21571770091881504</c:v>
                </c:pt>
                <c:pt idx="245">
                  <c:v>0.21595249477626788</c:v>
                </c:pt>
                <c:pt idx="246">
                  <c:v>0.21595063865528932</c:v>
                </c:pt>
                <c:pt idx="247">
                  <c:v>0.21571808950574214</c:v>
                </c:pt>
                <c:pt idx="248">
                  <c:v>0.21595083145014057</c:v>
                </c:pt>
                <c:pt idx="249">
                  <c:v>0.21618562530759342</c:v>
                </c:pt>
                <c:pt idx="250">
                  <c:v>0.21618534601539921</c:v>
                </c:pt>
                <c:pt idx="251">
                  <c:v>0.21641789516494639</c:v>
                </c:pt>
                <c:pt idx="252">
                  <c:v>0.21618377081490767</c:v>
                </c:pt>
                <c:pt idx="253">
                  <c:v>0.21665288344554326</c:v>
                </c:pt>
                <c:pt idx="254">
                  <c:v>0.21665288344554326</c:v>
                </c:pt>
                <c:pt idx="255">
                  <c:v>0.21665288344554326</c:v>
                </c:pt>
                <c:pt idx="256">
                  <c:v>0.21665288344554326</c:v>
                </c:pt>
                <c:pt idx="257">
                  <c:v>0.21688524011938312</c:v>
                </c:pt>
                <c:pt idx="258">
                  <c:v>0.21805484946669915</c:v>
                </c:pt>
                <c:pt idx="259">
                  <c:v>0.21875476607266764</c:v>
                </c:pt>
                <c:pt idx="260">
                  <c:v>0.21945410288147404</c:v>
                </c:pt>
                <c:pt idx="261">
                  <c:v>0.21898916306162616</c:v>
                </c:pt>
                <c:pt idx="262">
                  <c:v>0.21992184839018403</c:v>
                </c:pt>
                <c:pt idx="263">
                  <c:v>0.22131859035680615</c:v>
                </c:pt>
                <c:pt idx="264">
                  <c:v>0.22248181679554721</c:v>
                </c:pt>
                <c:pt idx="265">
                  <c:v>0.22341046343661256</c:v>
                </c:pt>
                <c:pt idx="266">
                  <c:v>0.22364129169950794</c:v>
                </c:pt>
                <c:pt idx="267">
                  <c:v>0.22433659507647352</c:v>
                </c:pt>
                <c:pt idx="268">
                  <c:v>0.22503132627156078</c:v>
                </c:pt>
                <c:pt idx="269">
                  <c:v>0.22503132627156078</c:v>
                </c:pt>
                <c:pt idx="270">
                  <c:v>0.22503132627156078</c:v>
                </c:pt>
                <c:pt idx="271">
                  <c:v>0.22572548622572805</c:v>
                </c:pt>
                <c:pt idx="272">
                  <c:v>0.22572548622572805</c:v>
                </c:pt>
                <c:pt idx="273">
                  <c:v>0.22572548622572805</c:v>
                </c:pt>
                <c:pt idx="274">
                  <c:v>0.22641907587761426</c:v>
                </c:pt>
                <c:pt idx="275">
                  <c:v>0.22641907587761426</c:v>
                </c:pt>
                <c:pt idx="276">
                  <c:v>0.2268802052964185</c:v>
                </c:pt>
                <c:pt idx="277">
                  <c:v>0.2268802052964185</c:v>
                </c:pt>
                <c:pt idx="278">
                  <c:v>0.22711209616354677</c:v>
                </c:pt>
                <c:pt idx="279">
                  <c:v>0.22757284813285125</c:v>
                </c:pt>
                <c:pt idx="280">
                  <c:v>0.22826492315475791</c:v>
                </c:pt>
                <c:pt idx="281">
                  <c:v>0.22826492315475791</c:v>
                </c:pt>
                <c:pt idx="282">
                  <c:v>0.22895643129235177</c:v>
                </c:pt>
                <c:pt idx="283">
                  <c:v>0.23010918299615879</c:v>
                </c:pt>
                <c:pt idx="284">
                  <c:v>0.2307991825987715</c:v>
                </c:pt>
                <c:pt idx="285">
                  <c:v>0.23148861871136542</c:v>
                </c:pt>
                <c:pt idx="286">
                  <c:v>0.23217749225354975</c:v>
                </c:pt>
                <c:pt idx="287">
                  <c:v>0.23286580414268396</c:v>
                </c:pt>
                <c:pt idx="288">
                  <c:v>0.23355355529388577</c:v>
                </c:pt>
                <c:pt idx="289">
                  <c:v>0.23401075152520481</c:v>
                </c:pt>
                <c:pt idx="290">
                  <c:v>0.23446857759985731</c:v>
                </c:pt>
                <c:pt idx="291">
                  <c:v>0.23492737903179614</c:v>
                </c:pt>
                <c:pt idx="292">
                  <c:v>0.23515618755163614</c:v>
                </c:pt>
                <c:pt idx="293">
                  <c:v>0.23538383378366121</c:v>
                </c:pt>
                <c:pt idx="294">
                  <c:v>0.23561345343759524</c:v>
                </c:pt>
                <c:pt idx="295">
                  <c:v>0.23538402104483716</c:v>
                </c:pt>
                <c:pt idx="296">
                  <c:v>0.23538402104483716</c:v>
                </c:pt>
                <c:pt idx="297">
                  <c:v>0.23606972561207532</c:v>
                </c:pt>
                <c:pt idx="298">
                  <c:v>0.23606972561207532</c:v>
                </c:pt>
                <c:pt idx="299">
                  <c:v>0.23629700324592681</c:v>
                </c:pt>
                <c:pt idx="300">
                  <c:v>0.23652544128565048</c:v>
                </c:pt>
                <c:pt idx="301">
                  <c:v>0.23652544128565048</c:v>
                </c:pt>
                <c:pt idx="302">
                  <c:v>0.23675487367840861</c:v>
                </c:pt>
                <c:pt idx="303">
                  <c:v>0.23675388149084653</c:v>
                </c:pt>
                <c:pt idx="304">
                  <c:v>0.2369823389082156</c:v>
                </c:pt>
                <c:pt idx="305">
                  <c:v>0.23743983759418677</c:v>
                </c:pt>
                <c:pt idx="306">
                  <c:v>0.23835194412161451</c:v>
                </c:pt>
                <c:pt idx="307">
                  <c:v>0.23880754352822861</c:v>
                </c:pt>
                <c:pt idx="308">
                  <c:v>0.2394904745946683</c:v>
                </c:pt>
                <c:pt idx="309">
                  <c:v>0.24085523270763065</c:v>
                </c:pt>
                <c:pt idx="310">
                  <c:v>0.24153651041702773</c:v>
                </c:pt>
                <c:pt idx="311">
                  <c:v>0.24244420682445675</c:v>
                </c:pt>
                <c:pt idx="312">
                  <c:v>0.24357644170566337</c:v>
                </c:pt>
                <c:pt idx="313">
                  <c:v>0.24380401814960448</c:v>
                </c:pt>
                <c:pt idx="314">
                  <c:v>0.24448292225198096</c:v>
                </c:pt>
                <c:pt idx="315">
                  <c:v>0.24470801312219689</c:v>
                </c:pt>
                <c:pt idx="316">
                  <c:v>0.24470916144244473</c:v>
                </c:pt>
                <c:pt idx="317">
                  <c:v>0.24470837441747442</c:v>
                </c:pt>
                <c:pt idx="318">
                  <c:v>0.2444811655659157</c:v>
                </c:pt>
                <c:pt idx="319">
                  <c:v>0.24470855806510741</c:v>
                </c:pt>
                <c:pt idx="320">
                  <c:v>0.24470855806510741</c:v>
                </c:pt>
                <c:pt idx="321">
                  <c:v>0.24448134921354872</c:v>
                </c:pt>
                <c:pt idx="322">
                  <c:v>0.24470740807163771</c:v>
                </c:pt>
                <c:pt idx="323">
                  <c:v>0.24448249753379656</c:v>
                </c:pt>
                <c:pt idx="324">
                  <c:v>0.24470758840401249</c:v>
                </c:pt>
                <c:pt idx="325">
                  <c:v>0.24470758840401249</c:v>
                </c:pt>
                <c:pt idx="326">
                  <c:v>0.24448171050882625</c:v>
                </c:pt>
                <c:pt idx="327">
                  <c:v>0.24493516186610695</c:v>
                </c:pt>
                <c:pt idx="328">
                  <c:v>0.24538595029913435</c:v>
                </c:pt>
                <c:pt idx="329">
                  <c:v>0.24516121980495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F1A-1C4B-861C-327C3D1E8B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2805792"/>
        <c:axId val="472703232"/>
      </c:scatterChart>
      <c:valAx>
        <c:axId val="47280579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ime [days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2703232"/>
        <c:crosses val="autoZero"/>
        <c:crossBetween val="midCat"/>
      </c:valAx>
      <c:valAx>
        <c:axId val="472703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volume</a:t>
                </a:r>
                <a:r>
                  <a:rPr lang="en-US" baseline="0"/>
                  <a:t> [L]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280579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rgbClr val="D9D9D9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parison of Three Samples with Unscreened</a:t>
            </a:r>
            <a:r>
              <a:rPr lang="en-US" baseline="0" dirty="0"/>
              <a:t> Cow Manure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7</c:v>
          </c:tx>
          <c:spPr>
            <a:ln w="3492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7 Gülle ungesiebt'!$E$20:$E$353</c:f>
              <c:numCache>
                <c:formatCode>0</c:formatCode>
                <c:ptCount val="334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</c:numCache>
            </c:numRef>
          </c:xVal>
          <c:yVal>
            <c:numRef>
              <c:f>'7 Gülle ungesiebt'!$D$20:$D$353</c:f>
              <c:numCache>
                <c:formatCode>General</c:formatCode>
                <c:ptCount val="334"/>
                <c:pt idx="47">
                  <c:v>0</c:v>
                </c:pt>
                <c:pt idx="48">
                  <c:v>19</c:v>
                </c:pt>
                <c:pt idx="49">
                  <c:v>24</c:v>
                </c:pt>
                <c:pt idx="50">
                  <c:v>26</c:v>
                </c:pt>
                <c:pt idx="51">
                  <c:v>29</c:v>
                </c:pt>
                <c:pt idx="52">
                  <c:v>32</c:v>
                </c:pt>
                <c:pt idx="53">
                  <c:v>33</c:v>
                </c:pt>
                <c:pt idx="54">
                  <c:v>35</c:v>
                </c:pt>
                <c:pt idx="55">
                  <c:v>37</c:v>
                </c:pt>
                <c:pt idx="56">
                  <c:v>36</c:v>
                </c:pt>
                <c:pt idx="57">
                  <c:v>38</c:v>
                </c:pt>
                <c:pt idx="58">
                  <c:v>38</c:v>
                </c:pt>
                <c:pt idx="59">
                  <c:v>38</c:v>
                </c:pt>
                <c:pt idx="60">
                  <c:v>41</c:v>
                </c:pt>
                <c:pt idx="61">
                  <c:v>40</c:v>
                </c:pt>
                <c:pt idx="62">
                  <c:v>44</c:v>
                </c:pt>
                <c:pt idx="63">
                  <c:v>44</c:v>
                </c:pt>
                <c:pt idx="64">
                  <c:v>44</c:v>
                </c:pt>
                <c:pt idx="65">
                  <c:v>45</c:v>
                </c:pt>
                <c:pt idx="66">
                  <c:v>46</c:v>
                </c:pt>
                <c:pt idx="67">
                  <c:v>46</c:v>
                </c:pt>
                <c:pt idx="68">
                  <c:v>49</c:v>
                </c:pt>
                <c:pt idx="69">
                  <c:v>49</c:v>
                </c:pt>
                <c:pt idx="70">
                  <c:v>49</c:v>
                </c:pt>
                <c:pt idx="71">
                  <c:v>51</c:v>
                </c:pt>
                <c:pt idx="72">
                  <c:v>53</c:v>
                </c:pt>
                <c:pt idx="73">
                  <c:v>55</c:v>
                </c:pt>
                <c:pt idx="74">
                  <c:v>57</c:v>
                </c:pt>
                <c:pt idx="75">
                  <c:v>58</c:v>
                </c:pt>
                <c:pt idx="76">
                  <c:v>58</c:v>
                </c:pt>
                <c:pt idx="77">
                  <c:v>59</c:v>
                </c:pt>
                <c:pt idx="78">
                  <c:v>60</c:v>
                </c:pt>
                <c:pt idx="79">
                  <c:v>59</c:v>
                </c:pt>
                <c:pt idx="80">
                  <c:v>60</c:v>
                </c:pt>
                <c:pt idx="81">
                  <c:v>60</c:v>
                </c:pt>
                <c:pt idx="82">
                  <c:v>62</c:v>
                </c:pt>
                <c:pt idx="83">
                  <c:v>63</c:v>
                </c:pt>
                <c:pt idx="84">
                  <c:v>64</c:v>
                </c:pt>
                <c:pt idx="85">
                  <c:v>64</c:v>
                </c:pt>
                <c:pt idx="86">
                  <c:v>64</c:v>
                </c:pt>
                <c:pt idx="87">
                  <c:v>64</c:v>
                </c:pt>
                <c:pt idx="88">
                  <c:v>65</c:v>
                </c:pt>
                <c:pt idx="89">
                  <c:v>66</c:v>
                </c:pt>
                <c:pt idx="90">
                  <c:v>59</c:v>
                </c:pt>
                <c:pt idx="91">
                  <c:v>56</c:v>
                </c:pt>
                <c:pt idx="92">
                  <c:v>55</c:v>
                </c:pt>
                <c:pt idx="93">
                  <c:v>56</c:v>
                </c:pt>
                <c:pt idx="94">
                  <c:v>58</c:v>
                </c:pt>
                <c:pt idx="95">
                  <c:v>58</c:v>
                </c:pt>
                <c:pt idx="96">
                  <c:v>63</c:v>
                </c:pt>
                <c:pt idx="97">
                  <c:v>68</c:v>
                </c:pt>
                <c:pt idx="98">
                  <c:v>74</c:v>
                </c:pt>
                <c:pt idx="99">
                  <c:v>80</c:v>
                </c:pt>
                <c:pt idx="100">
                  <c:v>85</c:v>
                </c:pt>
                <c:pt idx="101">
                  <c:v>85</c:v>
                </c:pt>
                <c:pt idx="102">
                  <c:v>86</c:v>
                </c:pt>
                <c:pt idx="103">
                  <c:v>89</c:v>
                </c:pt>
                <c:pt idx="104">
                  <c:v>90</c:v>
                </c:pt>
                <c:pt idx="105">
                  <c:v>94</c:v>
                </c:pt>
                <c:pt idx="106">
                  <c:v>95</c:v>
                </c:pt>
                <c:pt idx="107">
                  <c:v>95</c:v>
                </c:pt>
                <c:pt idx="108">
                  <c:v>94</c:v>
                </c:pt>
                <c:pt idx="109">
                  <c:v>96</c:v>
                </c:pt>
                <c:pt idx="110">
                  <c:v>96</c:v>
                </c:pt>
                <c:pt idx="111">
                  <c:v>99</c:v>
                </c:pt>
                <c:pt idx="112">
                  <c:v>100</c:v>
                </c:pt>
                <c:pt idx="113">
                  <c:v>99</c:v>
                </c:pt>
                <c:pt idx="114">
                  <c:v>100</c:v>
                </c:pt>
                <c:pt idx="115">
                  <c:v>104</c:v>
                </c:pt>
                <c:pt idx="116">
                  <c:v>106</c:v>
                </c:pt>
                <c:pt idx="117">
                  <c:v>108</c:v>
                </c:pt>
                <c:pt idx="118">
                  <c:v>110</c:v>
                </c:pt>
                <c:pt idx="119">
                  <c:v>110</c:v>
                </c:pt>
                <c:pt idx="120">
                  <c:v>113</c:v>
                </c:pt>
                <c:pt idx="121">
                  <c:v>113</c:v>
                </c:pt>
                <c:pt idx="122">
                  <c:v>114</c:v>
                </c:pt>
                <c:pt idx="123">
                  <c:v>118</c:v>
                </c:pt>
                <c:pt idx="124">
                  <c:v>118</c:v>
                </c:pt>
                <c:pt idx="125">
                  <c:v>119</c:v>
                </c:pt>
                <c:pt idx="126">
                  <c:v>119</c:v>
                </c:pt>
                <c:pt idx="127">
                  <c:v>119</c:v>
                </c:pt>
                <c:pt idx="128">
                  <c:v>120</c:v>
                </c:pt>
                <c:pt idx="129">
                  <c:v>120</c:v>
                </c:pt>
                <c:pt idx="130">
                  <c:v>121</c:v>
                </c:pt>
                <c:pt idx="131">
                  <c:v>121</c:v>
                </c:pt>
                <c:pt idx="132">
                  <c:v>121</c:v>
                </c:pt>
                <c:pt idx="133">
                  <c:v>121</c:v>
                </c:pt>
                <c:pt idx="134">
                  <c:v>122</c:v>
                </c:pt>
                <c:pt idx="135">
                  <c:v>123</c:v>
                </c:pt>
                <c:pt idx="136">
                  <c:v>123</c:v>
                </c:pt>
                <c:pt idx="137">
                  <c:v>123</c:v>
                </c:pt>
                <c:pt idx="138">
                  <c:v>124</c:v>
                </c:pt>
                <c:pt idx="139">
                  <c:v>125</c:v>
                </c:pt>
                <c:pt idx="140">
                  <c:v>129</c:v>
                </c:pt>
                <c:pt idx="141">
                  <c:v>128</c:v>
                </c:pt>
                <c:pt idx="142">
                  <c:v>130</c:v>
                </c:pt>
                <c:pt idx="143">
                  <c:v>133</c:v>
                </c:pt>
                <c:pt idx="144">
                  <c:v>134</c:v>
                </c:pt>
                <c:pt idx="145">
                  <c:v>138</c:v>
                </c:pt>
                <c:pt idx="146">
                  <c:v>140</c:v>
                </c:pt>
                <c:pt idx="147">
                  <c:v>141</c:v>
                </c:pt>
                <c:pt idx="148">
                  <c:v>142</c:v>
                </c:pt>
                <c:pt idx="149">
                  <c:v>142</c:v>
                </c:pt>
                <c:pt idx="150">
                  <c:v>142</c:v>
                </c:pt>
                <c:pt idx="151">
                  <c:v>141</c:v>
                </c:pt>
                <c:pt idx="152">
                  <c:v>141</c:v>
                </c:pt>
                <c:pt idx="153">
                  <c:v>142</c:v>
                </c:pt>
                <c:pt idx="154">
                  <c:v>142</c:v>
                </c:pt>
                <c:pt idx="155">
                  <c:v>142</c:v>
                </c:pt>
                <c:pt idx="156">
                  <c:v>141</c:v>
                </c:pt>
                <c:pt idx="157">
                  <c:v>141</c:v>
                </c:pt>
                <c:pt idx="158">
                  <c:v>141</c:v>
                </c:pt>
                <c:pt idx="159">
                  <c:v>141</c:v>
                </c:pt>
                <c:pt idx="160">
                  <c:v>141</c:v>
                </c:pt>
                <c:pt idx="161">
                  <c:v>142</c:v>
                </c:pt>
                <c:pt idx="162">
                  <c:v>141</c:v>
                </c:pt>
                <c:pt idx="163">
                  <c:v>142</c:v>
                </c:pt>
                <c:pt idx="164">
                  <c:v>145</c:v>
                </c:pt>
                <c:pt idx="165">
                  <c:v>146</c:v>
                </c:pt>
                <c:pt idx="166">
                  <c:v>150</c:v>
                </c:pt>
                <c:pt idx="167">
                  <c:v>150</c:v>
                </c:pt>
                <c:pt idx="168">
                  <c:v>152</c:v>
                </c:pt>
                <c:pt idx="169">
                  <c:v>149</c:v>
                </c:pt>
                <c:pt idx="170">
                  <c:v>150</c:v>
                </c:pt>
                <c:pt idx="171">
                  <c:v>153</c:v>
                </c:pt>
                <c:pt idx="172">
                  <c:v>155</c:v>
                </c:pt>
                <c:pt idx="173">
                  <c:v>157</c:v>
                </c:pt>
                <c:pt idx="174">
                  <c:v>159</c:v>
                </c:pt>
                <c:pt idx="175">
                  <c:v>158</c:v>
                </c:pt>
                <c:pt idx="176">
                  <c:v>159</c:v>
                </c:pt>
                <c:pt idx="177">
                  <c:v>159</c:v>
                </c:pt>
                <c:pt idx="178">
                  <c:v>159</c:v>
                </c:pt>
                <c:pt idx="179">
                  <c:v>159</c:v>
                </c:pt>
                <c:pt idx="180">
                  <c:v>159</c:v>
                </c:pt>
                <c:pt idx="181">
                  <c:v>160</c:v>
                </c:pt>
                <c:pt idx="182">
                  <c:v>159</c:v>
                </c:pt>
                <c:pt idx="183">
                  <c:v>159</c:v>
                </c:pt>
                <c:pt idx="184">
                  <c:v>160</c:v>
                </c:pt>
                <c:pt idx="185">
                  <c:v>159</c:v>
                </c:pt>
                <c:pt idx="186">
                  <c:v>158</c:v>
                </c:pt>
                <c:pt idx="187">
                  <c:v>155</c:v>
                </c:pt>
                <c:pt idx="188">
                  <c:v>159</c:v>
                </c:pt>
                <c:pt idx="189">
                  <c:v>163</c:v>
                </c:pt>
                <c:pt idx="190">
                  <c:v>166</c:v>
                </c:pt>
                <c:pt idx="191">
                  <c:v>213</c:v>
                </c:pt>
                <c:pt idx="192">
                  <c:v>217</c:v>
                </c:pt>
                <c:pt idx="193">
                  <c:v>220</c:v>
                </c:pt>
                <c:pt idx="194">
                  <c:v>221</c:v>
                </c:pt>
                <c:pt idx="195">
                  <c:v>225</c:v>
                </c:pt>
                <c:pt idx="196">
                  <c:v>225</c:v>
                </c:pt>
                <c:pt idx="197">
                  <c:v>227</c:v>
                </c:pt>
                <c:pt idx="198">
                  <c:v>227</c:v>
                </c:pt>
                <c:pt idx="199">
                  <c:v>228</c:v>
                </c:pt>
                <c:pt idx="200">
                  <c:v>229</c:v>
                </c:pt>
                <c:pt idx="201">
                  <c:v>229</c:v>
                </c:pt>
                <c:pt idx="202">
                  <c:v>231</c:v>
                </c:pt>
                <c:pt idx="203">
                  <c:v>230</c:v>
                </c:pt>
                <c:pt idx="204">
                  <c:v>232</c:v>
                </c:pt>
                <c:pt idx="205">
                  <c:v>231</c:v>
                </c:pt>
                <c:pt idx="206">
                  <c:v>233</c:v>
                </c:pt>
                <c:pt idx="207">
                  <c:v>231</c:v>
                </c:pt>
                <c:pt idx="208">
                  <c:v>231</c:v>
                </c:pt>
                <c:pt idx="209">
                  <c:v>231</c:v>
                </c:pt>
                <c:pt idx="210">
                  <c:v>232</c:v>
                </c:pt>
                <c:pt idx="211">
                  <c:v>226</c:v>
                </c:pt>
                <c:pt idx="212">
                  <c:v>229</c:v>
                </c:pt>
                <c:pt idx="213">
                  <c:v>234</c:v>
                </c:pt>
                <c:pt idx="214">
                  <c:v>235</c:v>
                </c:pt>
                <c:pt idx="215">
                  <c:v>238</c:v>
                </c:pt>
                <c:pt idx="216">
                  <c:v>240</c:v>
                </c:pt>
                <c:pt idx="217">
                  <c:v>244</c:v>
                </c:pt>
                <c:pt idx="218">
                  <c:v>241</c:v>
                </c:pt>
                <c:pt idx="219">
                  <c:v>242</c:v>
                </c:pt>
                <c:pt idx="220">
                  <c:v>243</c:v>
                </c:pt>
                <c:pt idx="221">
                  <c:v>241</c:v>
                </c:pt>
                <c:pt idx="222">
                  <c:v>241</c:v>
                </c:pt>
                <c:pt idx="223">
                  <c:v>241</c:v>
                </c:pt>
                <c:pt idx="224">
                  <c:v>241</c:v>
                </c:pt>
                <c:pt idx="225">
                  <c:v>240</c:v>
                </c:pt>
                <c:pt idx="226">
                  <c:v>240</c:v>
                </c:pt>
                <c:pt idx="227">
                  <c:v>239</c:v>
                </c:pt>
                <c:pt idx="228">
                  <c:v>239</c:v>
                </c:pt>
                <c:pt idx="229">
                  <c:v>239</c:v>
                </c:pt>
                <c:pt idx="230">
                  <c:v>239</c:v>
                </c:pt>
                <c:pt idx="231">
                  <c:v>239</c:v>
                </c:pt>
                <c:pt idx="232">
                  <c:v>238</c:v>
                </c:pt>
                <c:pt idx="233">
                  <c:v>239</c:v>
                </c:pt>
                <c:pt idx="234">
                  <c:v>239</c:v>
                </c:pt>
                <c:pt idx="235">
                  <c:v>236</c:v>
                </c:pt>
                <c:pt idx="236">
                  <c:v>234</c:v>
                </c:pt>
                <c:pt idx="237">
                  <c:v>236</c:v>
                </c:pt>
                <c:pt idx="238">
                  <c:v>237</c:v>
                </c:pt>
                <c:pt idx="239">
                  <c:v>238</c:v>
                </c:pt>
                <c:pt idx="240">
                  <c:v>238</c:v>
                </c:pt>
                <c:pt idx="241">
                  <c:v>240</c:v>
                </c:pt>
                <c:pt idx="242">
                  <c:v>241</c:v>
                </c:pt>
                <c:pt idx="243">
                  <c:v>241</c:v>
                </c:pt>
                <c:pt idx="244">
                  <c:v>243</c:v>
                </c:pt>
                <c:pt idx="245">
                  <c:v>242</c:v>
                </c:pt>
                <c:pt idx="246">
                  <c:v>241</c:v>
                </c:pt>
                <c:pt idx="247">
                  <c:v>242</c:v>
                </c:pt>
                <c:pt idx="248">
                  <c:v>241</c:v>
                </c:pt>
                <c:pt idx="249">
                  <c:v>240</c:v>
                </c:pt>
                <c:pt idx="250">
                  <c:v>238</c:v>
                </c:pt>
                <c:pt idx="251">
                  <c:v>238</c:v>
                </c:pt>
                <c:pt idx="252">
                  <c:v>237</c:v>
                </c:pt>
                <c:pt idx="253">
                  <c:v>236</c:v>
                </c:pt>
                <c:pt idx="254">
                  <c:v>235</c:v>
                </c:pt>
                <c:pt idx="255">
                  <c:v>235</c:v>
                </c:pt>
                <c:pt idx="256">
                  <c:v>234</c:v>
                </c:pt>
                <c:pt idx="257">
                  <c:v>235</c:v>
                </c:pt>
                <c:pt idx="258">
                  <c:v>235</c:v>
                </c:pt>
                <c:pt idx="259">
                  <c:v>237</c:v>
                </c:pt>
                <c:pt idx="260">
                  <c:v>238</c:v>
                </c:pt>
                <c:pt idx="261">
                  <c:v>240</c:v>
                </c:pt>
                <c:pt idx="262">
                  <c:v>233</c:v>
                </c:pt>
                <c:pt idx="263">
                  <c:v>234</c:v>
                </c:pt>
                <c:pt idx="264">
                  <c:v>233</c:v>
                </c:pt>
                <c:pt idx="265">
                  <c:v>234</c:v>
                </c:pt>
                <c:pt idx="266">
                  <c:v>236</c:v>
                </c:pt>
                <c:pt idx="267">
                  <c:v>237</c:v>
                </c:pt>
                <c:pt idx="268">
                  <c:v>240</c:v>
                </c:pt>
                <c:pt idx="269">
                  <c:v>245</c:v>
                </c:pt>
                <c:pt idx="270">
                  <c:v>244</c:v>
                </c:pt>
                <c:pt idx="271">
                  <c:v>244</c:v>
                </c:pt>
                <c:pt idx="272">
                  <c:v>246</c:v>
                </c:pt>
                <c:pt idx="273">
                  <c:v>246</c:v>
                </c:pt>
                <c:pt idx="274">
                  <c:v>247</c:v>
                </c:pt>
                <c:pt idx="275">
                  <c:v>246</c:v>
                </c:pt>
                <c:pt idx="276">
                  <c:v>248</c:v>
                </c:pt>
                <c:pt idx="277">
                  <c:v>246</c:v>
                </c:pt>
                <c:pt idx="278">
                  <c:v>247</c:v>
                </c:pt>
                <c:pt idx="279">
                  <c:v>248</c:v>
                </c:pt>
                <c:pt idx="280">
                  <c:v>247</c:v>
                </c:pt>
                <c:pt idx="281">
                  <c:v>248</c:v>
                </c:pt>
                <c:pt idx="282">
                  <c:v>247</c:v>
                </c:pt>
                <c:pt idx="283">
                  <c:v>249</c:v>
                </c:pt>
                <c:pt idx="284">
                  <c:v>249</c:v>
                </c:pt>
                <c:pt idx="285">
                  <c:v>252</c:v>
                </c:pt>
                <c:pt idx="286">
                  <c:v>251</c:v>
                </c:pt>
                <c:pt idx="287">
                  <c:v>248</c:v>
                </c:pt>
                <c:pt idx="288">
                  <c:v>249</c:v>
                </c:pt>
                <c:pt idx="289">
                  <c:v>252</c:v>
                </c:pt>
                <c:pt idx="290">
                  <c:v>253</c:v>
                </c:pt>
                <c:pt idx="291">
                  <c:v>256</c:v>
                </c:pt>
                <c:pt idx="292">
                  <c:v>254</c:v>
                </c:pt>
                <c:pt idx="293">
                  <c:v>256</c:v>
                </c:pt>
                <c:pt idx="294">
                  <c:v>254</c:v>
                </c:pt>
                <c:pt idx="295">
                  <c:v>254</c:v>
                </c:pt>
                <c:pt idx="296">
                  <c:v>253</c:v>
                </c:pt>
                <c:pt idx="297">
                  <c:v>253</c:v>
                </c:pt>
                <c:pt idx="298">
                  <c:v>252</c:v>
                </c:pt>
                <c:pt idx="299">
                  <c:v>252</c:v>
                </c:pt>
                <c:pt idx="300">
                  <c:v>253</c:v>
                </c:pt>
                <c:pt idx="301">
                  <c:v>253</c:v>
                </c:pt>
                <c:pt idx="302">
                  <c:v>252</c:v>
                </c:pt>
                <c:pt idx="303">
                  <c:v>252</c:v>
                </c:pt>
                <c:pt idx="304">
                  <c:v>251</c:v>
                </c:pt>
                <c:pt idx="305">
                  <c:v>251</c:v>
                </c:pt>
                <c:pt idx="306">
                  <c:v>250</c:v>
                </c:pt>
                <c:pt idx="307">
                  <c:v>252</c:v>
                </c:pt>
                <c:pt idx="308">
                  <c:v>252</c:v>
                </c:pt>
                <c:pt idx="309">
                  <c:v>254</c:v>
                </c:pt>
                <c:pt idx="310">
                  <c:v>256</c:v>
                </c:pt>
                <c:pt idx="311">
                  <c:v>253</c:v>
                </c:pt>
                <c:pt idx="312">
                  <c:v>257</c:v>
                </c:pt>
                <c:pt idx="313">
                  <c:v>260</c:v>
                </c:pt>
                <c:pt idx="314">
                  <c:v>261</c:v>
                </c:pt>
                <c:pt idx="315">
                  <c:v>265</c:v>
                </c:pt>
                <c:pt idx="316">
                  <c:v>265</c:v>
                </c:pt>
                <c:pt idx="317">
                  <c:v>265</c:v>
                </c:pt>
                <c:pt idx="318">
                  <c:v>265</c:v>
                </c:pt>
                <c:pt idx="319">
                  <c:v>264</c:v>
                </c:pt>
                <c:pt idx="320">
                  <c:v>265</c:v>
                </c:pt>
                <c:pt idx="321">
                  <c:v>264</c:v>
                </c:pt>
                <c:pt idx="322">
                  <c:v>263</c:v>
                </c:pt>
                <c:pt idx="323">
                  <c:v>263</c:v>
                </c:pt>
                <c:pt idx="324">
                  <c:v>262</c:v>
                </c:pt>
                <c:pt idx="325">
                  <c:v>262</c:v>
                </c:pt>
                <c:pt idx="326">
                  <c:v>263</c:v>
                </c:pt>
                <c:pt idx="327">
                  <c:v>262</c:v>
                </c:pt>
                <c:pt idx="328">
                  <c:v>261</c:v>
                </c:pt>
                <c:pt idx="329">
                  <c:v>261</c:v>
                </c:pt>
                <c:pt idx="330">
                  <c:v>261</c:v>
                </c:pt>
                <c:pt idx="331">
                  <c:v>261</c:v>
                </c:pt>
                <c:pt idx="332">
                  <c:v>261</c:v>
                </c:pt>
                <c:pt idx="333">
                  <c:v>26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8AD-8242-AD3A-800574250668}"/>
            </c:ext>
          </c:extLst>
        </c:ser>
        <c:ser>
          <c:idx val="1"/>
          <c:order val="1"/>
          <c:tx>
            <c:v>8</c:v>
          </c:tx>
          <c:spPr>
            <a:ln w="3492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8 Gülle ungesiebt'!$E$20:$E$353</c:f>
              <c:numCache>
                <c:formatCode>0</c:formatCode>
                <c:ptCount val="334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</c:numCache>
            </c:numRef>
          </c:xVal>
          <c:yVal>
            <c:numRef>
              <c:f>'8 Gülle ungesiebt'!$D$20:$D$353</c:f>
              <c:numCache>
                <c:formatCode>General</c:formatCode>
                <c:ptCount val="334"/>
                <c:pt idx="0">
                  <c:v>0</c:v>
                </c:pt>
                <c:pt idx="1">
                  <c:v>68</c:v>
                </c:pt>
                <c:pt idx="2">
                  <c:v>98</c:v>
                </c:pt>
                <c:pt idx="3">
                  <c:v>121</c:v>
                </c:pt>
                <c:pt idx="4">
                  <c:v>143</c:v>
                </c:pt>
                <c:pt idx="5">
                  <c:v>151</c:v>
                </c:pt>
                <c:pt idx="6">
                  <c:v>157</c:v>
                </c:pt>
                <c:pt idx="7">
                  <c:v>160</c:v>
                </c:pt>
                <c:pt idx="8">
                  <c:v>164</c:v>
                </c:pt>
                <c:pt idx="9">
                  <c:v>168</c:v>
                </c:pt>
                <c:pt idx="10">
                  <c:v>170</c:v>
                </c:pt>
                <c:pt idx="11">
                  <c:v>171</c:v>
                </c:pt>
                <c:pt idx="12">
                  <c:v>174</c:v>
                </c:pt>
                <c:pt idx="13">
                  <c:v>180</c:v>
                </c:pt>
                <c:pt idx="14">
                  <c:v>179</c:v>
                </c:pt>
                <c:pt idx="15">
                  <c:v>180</c:v>
                </c:pt>
                <c:pt idx="16">
                  <c:v>181</c:v>
                </c:pt>
                <c:pt idx="17">
                  <c:v>196</c:v>
                </c:pt>
                <c:pt idx="18">
                  <c:v>210</c:v>
                </c:pt>
                <c:pt idx="19">
                  <c:v>216</c:v>
                </c:pt>
                <c:pt idx="20">
                  <c:v>220</c:v>
                </c:pt>
                <c:pt idx="21">
                  <c:v>223</c:v>
                </c:pt>
                <c:pt idx="22">
                  <c:v>225</c:v>
                </c:pt>
                <c:pt idx="23">
                  <c:v>227</c:v>
                </c:pt>
                <c:pt idx="24">
                  <c:v>231</c:v>
                </c:pt>
                <c:pt idx="25">
                  <c:v>233</c:v>
                </c:pt>
                <c:pt idx="26">
                  <c:v>217</c:v>
                </c:pt>
                <c:pt idx="27">
                  <c:v>222</c:v>
                </c:pt>
                <c:pt idx="28">
                  <c:v>226</c:v>
                </c:pt>
                <c:pt idx="29">
                  <c:v>229</c:v>
                </c:pt>
                <c:pt idx="30">
                  <c:v>231</c:v>
                </c:pt>
                <c:pt idx="31">
                  <c:v>233</c:v>
                </c:pt>
                <c:pt idx="32">
                  <c:v>234</c:v>
                </c:pt>
                <c:pt idx="33">
                  <c:v>235</c:v>
                </c:pt>
                <c:pt idx="34">
                  <c:v>236</c:v>
                </c:pt>
                <c:pt idx="35">
                  <c:v>237</c:v>
                </c:pt>
                <c:pt idx="36">
                  <c:v>237</c:v>
                </c:pt>
                <c:pt idx="37">
                  <c:v>238</c:v>
                </c:pt>
                <c:pt idx="38">
                  <c:v>241</c:v>
                </c:pt>
                <c:pt idx="39">
                  <c:v>241</c:v>
                </c:pt>
                <c:pt idx="40">
                  <c:v>242</c:v>
                </c:pt>
                <c:pt idx="41">
                  <c:v>242</c:v>
                </c:pt>
                <c:pt idx="42">
                  <c:v>242</c:v>
                </c:pt>
                <c:pt idx="43">
                  <c:v>242</c:v>
                </c:pt>
                <c:pt idx="44">
                  <c:v>242</c:v>
                </c:pt>
                <c:pt idx="45">
                  <c:v>241</c:v>
                </c:pt>
                <c:pt idx="46">
                  <c:v>244</c:v>
                </c:pt>
                <c:pt idx="47">
                  <c:v>246</c:v>
                </c:pt>
                <c:pt idx="48">
                  <c:v>243</c:v>
                </c:pt>
                <c:pt idx="49">
                  <c:v>244</c:v>
                </c:pt>
                <c:pt idx="50">
                  <c:v>245</c:v>
                </c:pt>
                <c:pt idx="51">
                  <c:v>247</c:v>
                </c:pt>
                <c:pt idx="52">
                  <c:v>250</c:v>
                </c:pt>
                <c:pt idx="53">
                  <c:v>251</c:v>
                </c:pt>
                <c:pt idx="54">
                  <c:v>253</c:v>
                </c:pt>
                <c:pt idx="55">
                  <c:v>255</c:v>
                </c:pt>
                <c:pt idx="56">
                  <c:v>256</c:v>
                </c:pt>
                <c:pt idx="57">
                  <c:v>258</c:v>
                </c:pt>
                <c:pt idx="58">
                  <c:v>259</c:v>
                </c:pt>
                <c:pt idx="59">
                  <c:v>260</c:v>
                </c:pt>
                <c:pt idx="60">
                  <c:v>261</c:v>
                </c:pt>
                <c:pt idx="61">
                  <c:v>263</c:v>
                </c:pt>
                <c:pt idx="62">
                  <c:v>264</c:v>
                </c:pt>
                <c:pt idx="63">
                  <c:v>266</c:v>
                </c:pt>
                <c:pt idx="64">
                  <c:v>267</c:v>
                </c:pt>
                <c:pt idx="65">
                  <c:v>269</c:v>
                </c:pt>
                <c:pt idx="66">
                  <c:v>271</c:v>
                </c:pt>
                <c:pt idx="67">
                  <c:v>273</c:v>
                </c:pt>
                <c:pt idx="68">
                  <c:v>274</c:v>
                </c:pt>
                <c:pt idx="69">
                  <c:v>276</c:v>
                </c:pt>
                <c:pt idx="70">
                  <c:v>277</c:v>
                </c:pt>
                <c:pt idx="71">
                  <c:v>280</c:v>
                </c:pt>
                <c:pt idx="72">
                  <c:v>283</c:v>
                </c:pt>
                <c:pt idx="73">
                  <c:v>286</c:v>
                </c:pt>
                <c:pt idx="74">
                  <c:v>290</c:v>
                </c:pt>
                <c:pt idx="75">
                  <c:v>291</c:v>
                </c:pt>
                <c:pt idx="76">
                  <c:v>293</c:v>
                </c:pt>
                <c:pt idx="77">
                  <c:v>294</c:v>
                </c:pt>
                <c:pt idx="78">
                  <c:v>294</c:v>
                </c:pt>
                <c:pt idx="79">
                  <c:v>296</c:v>
                </c:pt>
                <c:pt idx="80">
                  <c:v>296</c:v>
                </c:pt>
                <c:pt idx="81">
                  <c:v>298</c:v>
                </c:pt>
                <c:pt idx="82">
                  <c:v>300</c:v>
                </c:pt>
                <c:pt idx="83">
                  <c:v>301</c:v>
                </c:pt>
                <c:pt idx="84">
                  <c:v>301</c:v>
                </c:pt>
                <c:pt idx="85">
                  <c:v>302</c:v>
                </c:pt>
                <c:pt idx="86">
                  <c:v>304</c:v>
                </c:pt>
                <c:pt idx="87">
                  <c:v>304</c:v>
                </c:pt>
                <c:pt idx="88">
                  <c:v>304</c:v>
                </c:pt>
                <c:pt idx="89">
                  <c:v>305</c:v>
                </c:pt>
                <c:pt idx="90">
                  <c:v>303</c:v>
                </c:pt>
                <c:pt idx="91">
                  <c:v>298</c:v>
                </c:pt>
                <c:pt idx="92">
                  <c:v>296</c:v>
                </c:pt>
                <c:pt idx="93">
                  <c:v>299</c:v>
                </c:pt>
                <c:pt idx="94">
                  <c:v>300</c:v>
                </c:pt>
                <c:pt idx="95">
                  <c:v>302</c:v>
                </c:pt>
                <c:pt idx="96">
                  <c:v>304</c:v>
                </c:pt>
                <c:pt idx="97">
                  <c:v>309</c:v>
                </c:pt>
                <c:pt idx="98">
                  <c:v>313</c:v>
                </c:pt>
                <c:pt idx="99">
                  <c:v>316</c:v>
                </c:pt>
                <c:pt idx="100">
                  <c:v>319</c:v>
                </c:pt>
                <c:pt idx="101">
                  <c:v>321</c:v>
                </c:pt>
                <c:pt idx="102">
                  <c:v>323</c:v>
                </c:pt>
                <c:pt idx="103">
                  <c:v>324</c:v>
                </c:pt>
                <c:pt idx="104">
                  <c:v>327</c:v>
                </c:pt>
                <c:pt idx="105">
                  <c:v>328</c:v>
                </c:pt>
                <c:pt idx="106">
                  <c:v>329</c:v>
                </c:pt>
                <c:pt idx="107">
                  <c:v>330</c:v>
                </c:pt>
                <c:pt idx="108">
                  <c:v>331</c:v>
                </c:pt>
                <c:pt idx="109">
                  <c:v>332</c:v>
                </c:pt>
                <c:pt idx="110">
                  <c:v>332</c:v>
                </c:pt>
                <c:pt idx="111">
                  <c:v>334</c:v>
                </c:pt>
                <c:pt idx="112">
                  <c:v>334</c:v>
                </c:pt>
                <c:pt idx="113">
                  <c:v>334</c:v>
                </c:pt>
                <c:pt idx="114">
                  <c:v>337</c:v>
                </c:pt>
                <c:pt idx="115">
                  <c:v>337</c:v>
                </c:pt>
                <c:pt idx="116">
                  <c:v>339</c:v>
                </c:pt>
                <c:pt idx="117">
                  <c:v>340</c:v>
                </c:pt>
                <c:pt idx="118">
                  <c:v>342</c:v>
                </c:pt>
                <c:pt idx="119">
                  <c:v>343</c:v>
                </c:pt>
                <c:pt idx="120">
                  <c:v>345</c:v>
                </c:pt>
                <c:pt idx="121">
                  <c:v>347</c:v>
                </c:pt>
                <c:pt idx="122">
                  <c:v>353</c:v>
                </c:pt>
                <c:pt idx="123">
                  <c:v>356</c:v>
                </c:pt>
                <c:pt idx="124">
                  <c:v>359</c:v>
                </c:pt>
                <c:pt idx="125">
                  <c:v>358</c:v>
                </c:pt>
                <c:pt idx="126">
                  <c:v>360</c:v>
                </c:pt>
                <c:pt idx="127">
                  <c:v>361</c:v>
                </c:pt>
                <c:pt idx="128">
                  <c:v>361</c:v>
                </c:pt>
                <c:pt idx="129">
                  <c:v>361</c:v>
                </c:pt>
                <c:pt idx="130">
                  <c:v>362</c:v>
                </c:pt>
                <c:pt idx="131">
                  <c:v>362</c:v>
                </c:pt>
                <c:pt idx="132">
                  <c:v>363</c:v>
                </c:pt>
                <c:pt idx="133">
                  <c:v>363</c:v>
                </c:pt>
                <c:pt idx="134">
                  <c:v>364</c:v>
                </c:pt>
                <c:pt idx="135">
                  <c:v>366</c:v>
                </c:pt>
                <c:pt idx="136">
                  <c:v>365</c:v>
                </c:pt>
                <c:pt idx="137">
                  <c:v>366</c:v>
                </c:pt>
                <c:pt idx="138">
                  <c:v>366</c:v>
                </c:pt>
                <c:pt idx="139">
                  <c:v>368</c:v>
                </c:pt>
                <c:pt idx="140">
                  <c:v>370</c:v>
                </c:pt>
                <c:pt idx="141">
                  <c:v>370</c:v>
                </c:pt>
                <c:pt idx="142">
                  <c:v>372</c:v>
                </c:pt>
                <c:pt idx="143">
                  <c:v>374</c:v>
                </c:pt>
                <c:pt idx="144">
                  <c:v>376</c:v>
                </c:pt>
                <c:pt idx="145">
                  <c:v>379</c:v>
                </c:pt>
                <c:pt idx="146">
                  <c:v>381</c:v>
                </c:pt>
                <c:pt idx="147">
                  <c:v>383</c:v>
                </c:pt>
                <c:pt idx="148">
                  <c:v>383</c:v>
                </c:pt>
                <c:pt idx="149">
                  <c:v>384</c:v>
                </c:pt>
                <c:pt idx="150">
                  <c:v>384</c:v>
                </c:pt>
                <c:pt idx="151">
                  <c:v>385</c:v>
                </c:pt>
                <c:pt idx="152">
                  <c:v>384</c:v>
                </c:pt>
                <c:pt idx="153">
                  <c:v>384</c:v>
                </c:pt>
                <c:pt idx="154">
                  <c:v>384</c:v>
                </c:pt>
                <c:pt idx="155">
                  <c:v>385</c:v>
                </c:pt>
                <c:pt idx="156">
                  <c:v>384</c:v>
                </c:pt>
                <c:pt idx="157">
                  <c:v>384</c:v>
                </c:pt>
                <c:pt idx="158">
                  <c:v>384</c:v>
                </c:pt>
                <c:pt idx="159">
                  <c:v>385</c:v>
                </c:pt>
                <c:pt idx="160">
                  <c:v>384</c:v>
                </c:pt>
                <c:pt idx="161">
                  <c:v>385</c:v>
                </c:pt>
                <c:pt idx="162">
                  <c:v>386</c:v>
                </c:pt>
                <c:pt idx="163">
                  <c:v>386</c:v>
                </c:pt>
                <c:pt idx="164">
                  <c:v>388</c:v>
                </c:pt>
                <c:pt idx="165">
                  <c:v>391</c:v>
                </c:pt>
                <c:pt idx="166">
                  <c:v>392</c:v>
                </c:pt>
                <c:pt idx="167">
                  <c:v>394</c:v>
                </c:pt>
                <c:pt idx="168">
                  <c:v>395</c:v>
                </c:pt>
                <c:pt idx="169">
                  <c:v>393</c:v>
                </c:pt>
                <c:pt idx="170">
                  <c:v>394</c:v>
                </c:pt>
                <c:pt idx="171">
                  <c:v>399</c:v>
                </c:pt>
                <c:pt idx="172">
                  <c:v>401</c:v>
                </c:pt>
                <c:pt idx="173">
                  <c:v>403</c:v>
                </c:pt>
                <c:pt idx="174">
                  <c:v>405</c:v>
                </c:pt>
                <c:pt idx="175">
                  <c:v>405</c:v>
                </c:pt>
                <c:pt idx="176">
                  <c:v>406</c:v>
                </c:pt>
                <c:pt idx="177">
                  <c:v>406</c:v>
                </c:pt>
                <c:pt idx="178">
                  <c:v>406</c:v>
                </c:pt>
                <c:pt idx="179">
                  <c:v>406</c:v>
                </c:pt>
                <c:pt idx="180">
                  <c:v>405</c:v>
                </c:pt>
                <c:pt idx="181">
                  <c:v>406</c:v>
                </c:pt>
                <c:pt idx="182">
                  <c:v>406</c:v>
                </c:pt>
                <c:pt idx="183">
                  <c:v>405</c:v>
                </c:pt>
                <c:pt idx="184">
                  <c:v>405</c:v>
                </c:pt>
                <c:pt idx="185">
                  <c:v>405</c:v>
                </c:pt>
                <c:pt idx="186">
                  <c:v>405</c:v>
                </c:pt>
                <c:pt idx="187">
                  <c:v>404</c:v>
                </c:pt>
                <c:pt idx="188">
                  <c:v>408</c:v>
                </c:pt>
                <c:pt idx="189">
                  <c:v>410</c:v>
                </c:pt>
                <c:pt idx="190">
                  <c:v>413</c:v>
                </c:pt>
                <c:pt idx="191">
                  <c:v>424</c:v>
                </c:pt>
                <c:pt idx="192">
                  <c:v>428</c:v>
                </c:pt>
                <c:pt idx="193">
                  <c:v>432</c:v>
                </c:pt>
                <c:pt idx="194">
                  <c:v>435</c:v>
                </c:pt>
                <c:pt idx="195">
                  <c:v>438</c:v>
                </c:pt>
                <c:pt idx="196">
                  <c:v>437</c:v>
                </c:pt>
                <c:pt idx="197">
                  <c:v>437</c:v>
                </c:pt>
                <c:pt idx="198">
                  <c:v>438</c:v>
                </c:pt>
                <c:pt idx="199">
                  <c:v>439</c:v>
                </c:pt>
                <c:pt idx="200">
                  <c:v>441</c:v>
                </c:pt>
                <c:pt idx="201">
                  <c:v>443</c:v>
                </c:pt>
                <c:pt idx="202">
                  <c:v>443</c:v>
                </c:pt>
                <c:pt idx="203">
                  <c:v>443</c:v>
                </c:pt>
                <c:pt idx="204">
                  <c:v>444</c:v>
                </c:pt>
                <c:pt idx="205">
                  <c:v>445</c:v>
                </c:pt>
                <c:pt idx="206">
                  <c:v>444</c:v>
                </c:pt>
                <c:pt idx="207">
                  <c:v>444</c:v>
                </c:pt>
                <c:pt idx="208">
                  <c:v>444</c:v>
                </c:pt>
                <c:pt idx="209">
                  <c:v>444</c:v>
                </c:pt>
                <c:pt idx="210">
                  <c:v>445</c:v>
                </c:pt>
                <c:pt idx="211">
                  <c:v>443</c:v>
                </c:pt>
                <c:pt idx="212">
                  <c:v>441</c:v>
                </c:pt>
                <c:pt idx="213">
                  <c:v>444</c:v>
                </c:pt>
                <c:pt idx="214">
                  <c:v>447</c:v>
                </c:pt>
                <c:pt idx="215">
                  <c:v>449</c:v>
                </c:pt>
                <c:pt idx="216">
                  <c:v>451</c:v>
                </c:pt>
                <c:pt idx="217">
                  <c:v>453</c:v>
                </c:pt>
                <c:pt idx="218">
                  <c:v>453</c:v>
                </c:pt>
                <c:pt idx="219">
                  <c:v>455</c:v>
                </c:pt>
                <c:pt idx="220">
                  <c:v>454</c:v>
                </c:pt>
                <c:pt idx="221">
                  <c:v>455</c:v>
                </c:pt>
                <c:pt idx="222">
                  <c:v>455</c:v>
                </c:pt>
                <c:pt idx="223">
                  <c:v>454</c:v>
                </c:pt>
                <c:pt idx="224">
                  <c:v>454</c:v>
                </c:pt>
                <c:pt idx="225">
                  <c:v>453</c:v>
                </c:pt>
                <c:pt idx="226">
                  <c:v>453</c:v>
                </c:pt>
                <c:pt idx="227">
                  <c:v>454</c:v>
                </c:pt>
                <c:pt idx="228">
                  <c:v>454</c:v>
                </c:pt>
                <c:pt idx="229">
                  <c:v>452</c:v>
                </c:pt>
                <c:pt idx="230">
                  <c:v>454</c:v>
                </c:pt>
                <c:pt idx="231">
                  <c:v>453</c:v>
                </c:pt>
                <c:pt idx="232">
                  <c:v>453</c:v>
                </c:pt>
                <c:pt idx="233">
                  <c:v>452</c:v>
                </c:pt>
                <c:pt idx="234">
                  <c:v>455</c:v>
                </c:pt>
                <c:pt idx="235">
                  <c:v>453</c:v>
                </c:pt>
                <c:pt idx="236">
                  <c:v>450</c:v>
                </c:pt>
                <c:pt idx="237">
                  <c:v>449</c:v>
                </c:pt>
                <c:pt idx="238">
                  <c:v>451</c:v>
                </c:pt>
                <c:pt idx="239">
                  <c:v>451</c:v>
                </c:pt>
                <c:pt idx="240">
                  <c:v>453</c:v>
                </c:pt>
                <c:pt idx="241">
                  <c:v>453</c:v>
                </c:pt>
                <c:pt idx="242">
                  <c:v>454</c:v>
                </c:pt>
                <c:pt idx="243">
                  <c:v>454</c:v>
                </c:pt>
                <c:pt idx="244">
                  <c:v>454</c:v>
                </c:pt>
                <c:pt idx="245">
                  <c:v>454</c:v>
                </c:pt>
                <c:pt idx="246">
                  <c:v>455</c:v>
                </c:pt>
                <c:pt idx="247">
                  <c:v>453</c:v>
                </c:pt>
                <c:pt idx="248">
                  <c:v>453</c:v>
                </c:pt>
                <c:pt idx="249">
                  <c:v>451</c:v>
                </c:pt>
                <c:pt idx="250">
                  <c:v>452</c:v>
                </c:pt>
                <c:pt idx="251">
                  <c:v>449</c:v>
                </c:pt>
                <c:pt idx="252">
                  <c:v>448</c:v>
                </c:pt>
                <c:pt idx="253">
                  <c:v>447</c:v>
                </c:pt>
                <c:pt idx="254">
                  <c:v>447</c:v>
                </c:pt>
                <c:pt idx="255">
                  <c:v>447</c:v>
                </c:pt>
                <c:pt idx="256">
                  <c:v>446</c:v>
                </c:pt>
                <c:pt idx="257">
                  <c:v>446</c:v>
                </c:pt>
                <c:pt idx="258">
                  <c:v>446</c:v>
                </c:pt>
                <c:pt idx="259">
                  <c:v>447</c:v>
                </c:pt>
                <c:pt idx="260">
                  <c:v>448</c:v>
                </c:pt>
                <c:pt idx="261">
                  <c:v>449</c:v>
                </c:pt>
                <c:pt idx="262">
                  <c:v>446</c:v>
                </c:pt>
                <c:pt idx="263">
                  <c:v>446</c:v>
                </c:pt>
                <c:pt idx="264">
                  <c:v>446</c:v>
                </c:pt>
                <c:pt idx="265">
                  <c:v>444</c:v>
                </c:pt>
                <c:pt idx="266">
                  <c:v>446</c:v>
                </c:pt>
                <c:pt idx="267">
                  <c:v>448</c:v>
                </c:pt>
                <c:pt idx="268">
                  <c:v>449</c:v>
                </c:pt>
                <c:pt idx="269">
                  <c:v>452</c:v>
                </c:pt>
                <c:pt idx="270">
                  <c:v>453</c:v>
                </c:pt>
                <c:pt idx="271">
                  <c:v>455</c:v>
                </c:pt>
                <c:pt idx="272">
                  <c:v>455</c:v>
                </c:pt>
                <c:pt idx="273">
                  <c:v>458</c:v>
                </c:pt>
                <c:pt idx="274">
                  <c:v>458</c:v>
                </c:pt>
                <c:pt idx="275">
                  <c:v>458</c:v>
                </c:pt>
                <c:pt idx="276">
                  <c:v>459</c:v>
                </c:pt>
                <c:pt idx="277">
                  <c:v>458</c:v>
                </c:pt>
                <c:pt idx="278">
                  <c:v>458</c:v>
                </c:pt>
                <c:pt idx="279">
                  <c:v>460</c:v>
                </c:pt>
                <c:pt idx="280">
                  <c:v>460</c:v>
                </c:pt>
                <c:pt idx="281">
                  <c:v>459</c:v>
                </c:pt>
                <c:pt idx="282">
                  <c:v>460</c:v>
                </c:pt>
                <c:pt idx="283">
                  <c:v>460</c:v>
                </c:pt>
                <c:pt idx="284">
                  <c:v>461</c:v>
                </c:pt>
                <c:pt idx="285">
                  <c:v>461</c:v>
                </c:pt>
                <c:pt idx="286">
                  <c:v>463</c:v>
                </c:pt>
                <c:pt idx="287">
                  <c:v>459</c:v>
                </c:pt>
                <c:pt idx="288">
                  <c:v>459</c:v>
                </c:pt>
                <c:pt idx="289">
                  <c:v>461</c:v>
                </c:pt>
                <c:pt idx="290">
                  <c:v>463</c:v>
                </c:pt>
                <c:pt idx="291">
                  <c:v>464</c:v>
                </c:pt>
                <c:pt idx="292">
                  <c:v>465</c:v>
                </c:pt>
                <c:pt idx="293">
                  <c:v>465</c:v>
                </c:pt>
                <c:pt idx="294">
                  <c:v>464</c:v>
                </c:pt>
                <c:pt idx="295">
                  <c:v>464</c:v>
                </c:pt>
                <c:pt idx="296">
                  <c:v>463</c:v>
                </c:pt>
                <c:pt idx="297">
                  <c:v>463</c:v>
                </c:pt>
                <c:pt idx="298">
                  <c:v>464</c:v>
                </c:pt>
                <c:pt idx="299">
                  <c:v>462</c:v>
                </c:pt>
                <c:pt idx="300">
                  <c:v>462</c:v>
                </c:pt>
                <c:pt idx="301">
                  <c:v>462</c:v>
                </c:pt>
                <c:pt idx="302">
                  <c:v>464</c:v>
                </c:pt>
                <c:pt idx="303">
                  <c:v>461</c:v>
                </c:pt>
                <c:pt idx="304">
                  <c:v>461</c:v>
                </c:pt>
                <c:pt idx="305">
                  <c:v>461</c:v>
                </c:pt>
                <c:pt idx="306">
                  <c:v>463</c:v>
                </c:pt>
                <c:pt idx="307">
                  <c:v>461</c:v>
                </c:pt>
                <c:pt idx="308">
                  <c:v>462</c:v>
                </c:pt>
                <c:pt idx="309">
                  <c:v>462</c:v>
                </c:pt>
                <c:pt idx="310">
                  <c:v>464</c:v>
                </c:pt>
                <c:pt idx="311">
                  <c:v>463</c:v>
                </c:pt>
                <c:pt idx="312">
                  <c:v>466</c:v>
                </c:pt>
                <c:pt idx="313">
                  <c:v>469</c:v>
                </c:pt>
                <c:pt idx="314">
                  <c:v>471</c:v>
                </c:pt>
                <c:pt idx="315">
                  <c:v>473</c:v>
                </c:pt>
                <c:pt idx="316">
                  <c:v>474</c:v>
                </c:pt>
                <c:pt idx="317">
                  <c:v>474</c:v>
                </c:pt>
                <c:pt idx="318">
                  <c:v>474</c:v>
                </c:pt>
                <c:pt idx="319">
                  <c:v>473</c:v>
                </c:pt>
                <c:pt idx="320">
                  <c:v>473</c:v>
                </c:pt>
                <c:pt idx="321">
                  <c:v>473</c:v>
                </c:pt>
                <c:pt idx="322">
                  <c:v>473</c:v>
                </c:pt>
                <c:pt idx="323">
                  <c:v>472</c:v>
                </c:pt>
                <c:pt idx="324">
                  <c:v>471</c:v>
                </c:pt>
                <c:pt idx="325">
                  <c:v>471</c:v>
                </c:pt>
                <c:pt idx="326">
                  <c:v>471</c:v>
                </c:pt>
                <c:pt idx="327">
                  <c:v>471</c:v>
                </c:pt>
                <c:pt idx="328">
                  <c:v>470</c:v>
                </c:pt>
                <c:pt idx="329">
                  <c:v>470</c:v>
                </c:pt>
                <c:pt idx="330">
                  <c:v>471</c:v>
                </c:pt>
                <c:pt idx="331">
                  <c:v>470</c:v>
                </c:pt>
                <c:pt idx="332">
                  <c:v>470</c:v>
                </c:pt>
                <c:pt idx="333">
                  <c:v>4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8AD-8242-AD3A-800574250668}"/>
            </c:ext>
          </c:extLst>
        </c:ser>
        <c:ser>
          <c:idx val="2"/>
          <c:order val="2"/>
          <c:tx>
            <c:v>9</c:v>
          </c:tx>
          <c:spPr>
            <a:ln w="3492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9 Gülle ungesiebt'!$E$20:$E$353</c:f>
              <c:numCache>
                <c:formatCode>0</c:formatCode>
                <c:ptCount val="334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</c:numCache>
            </c:numRef>
          </c:xVal>
          <c:yVal>
            <c:numRef>
              <c:f>'9 Gülle ungesiebt'!$D$20:$D$353</c:f>
              <c:numCache>
                <c:formatCode>General</c:formatCode>
                <c:ptCount val="334"/>
                <c:pt idx="0">
                  <c:v>0</c:v>
                </c:pt>
                <c:pt idx="1">
                  <c:v>67</c:v>
                </c:pt>
                <c:pt idx="2">
                  <c:v>105</c:v>
                </c:pt>
                <c:pt idx="3">
                  <c:v>123</c:v>
                </c:pt>
                <c:pt idx="4">
                  <c:v>136</c:v>
                </c:pt>
                <c:pt idx="5">
                  <c:v>147</c:v>
                </c:pt>
                <c:pt idx="6">
                  <c:v>156</c:v>
                </c:pt>
                <c:pt idx="7">
                  <c:v>160</c:v>
                </c:pt>
                <c:pt idx="8">
                  <c:v>163</c:v>
                </c:pt>
                <c:pt idx="9">
                  <c:v>165</c:v>
                </c:pt>
                <c:pt idx="10">
                  <c:v>167</c:v>
                </c:pt>
                <c:pt idx="11">
                  <c:v>169</c:v>
                </c:pt>
                <c:pt idx="12">
                  <c:v>170</c:v>
                </c:pt>
                <c:pt idx="13">
                  <c:v>171</c:v>
                </c:pt>
                <c:pt idx="14">
                  <c:v>173</c:v>
                </c:pt>
                <c:pt idx="15">
                  <c:v>173</c:v>
                </c:pt>
                <c:pt idx="16">
                  <c:v>174</c:v>
                </c:pt>
                <c:pt idx="17">
                  <c:v>195</c:v>
                </c:pt>
                <c:pt idx="18">
                  <c:v>202</c:v>
                </c:pt>
                <c:pt idx="19">
                  <c:v>206</c:v>
                </c:pt>
                <c:pt idx="20">
                  <c:v>209</c:v>
                </c:pt>
                <c:pt idx="21">
                  <c:v>209</c:v>
                </c:pt>
                <c:pt idx="22">
                  <c:v>211</c:v>
                </c:pt>
                <c:pt idx="23">
                  <c:v>214</c:v>
                </c:pt>
                <c:pt idx="24">
                  <c:v>216</c:v>
                </c:pt>
                <c:pt idx="25">
                  <c:v>216</c:v>
                </c:pt>
                <c:pt idx="26">
                  <c:v>207</c:v>
                </c:pt>
                <c:pt idx="27">
                  <c:v>212</c:v>
                </c:pt>
                <c:pt idx="28">
                  <c:v>217</c:v>
                </c:pt>
                <c:pt idx="29">
                  <c:v>220</c:v>
                </c:pt>
                <c:pt idx="30">
                  <c:v>223</c:v>
                </c:pt>
                <c:pt idx="31">
                  <c:v>224</c:v>
                </c:pt>
                <c:pt idx="32">
                  <c:v>226</c:v>
                </c:pt>
                <c:pt idx="33">
                  <c:v>227</c:v>
                </c:pt>
                <c:pt idx="34">
                  <c:v>228</c:v>
                </c:pt>
                <c:pt idx="35">
                  <c:v>229</c:v>
                </c:pt>
                <c:pt idx="36">
                  <c:v>230</c:v>
                </c:pt>
                <c:pt idx="37">
                  <c:v>230</c:v>
                </c:pt>
                <c:pt idx="38">
                  <c:v>232</c:v>
                </c:pt>
                <c:pt idx="39">
                  <c:v>233</c:v>
                </c:pt>
                <c:pt idx="40">
                  <c:v>234</c:v>
                </c:pt>
                <c:pt idx="41">
                  <c:v>234</c:v>
                </c:pt>
                <c:pt idx="42">
                  <c:v>233</c:v>
                </c:pt>
                <c:pt idx="43">
                  <c:v>233</c:v>
                </c:pt>
                <c:pt idx="44">
                  <c:v>234</c:v>
                </c:pt>
                <c:pt idx="45">
                  <c:v>233</c:v>
                </c:pt>
                <c:pt idx="46">
                  <c:v>235</c:v>
                </c:pt>
                <c:pt idx="47">
                  <c:v>238</c:v>
                </c:pt>
                <c:pt idx="48">
                  <c:v>234</c:v>
                </c:pt>
                <c:pt idx="49">
                  <c:v>236</c:v>
                </c:pt>
                <c:pt idx="50">
                  <c:v>236</c:v>
                </c:pt>
                <c:pt idx="51">
                  <c:v>239</c:v>
                </c:pt>
                <c:pt idx="52">
                  <c:v>241</c:v>
                </c:pt>
                <c:pt idx="53">
                  <c:v>243</c:v>
                </c:pt>
                <c:pt idx="54">
                  <c:v>243</c:v>
                </c:pt>
                <c:pt idx="55">
                  <c:v>244</c:v>
                </c:pt>
                <c:pt idx="56">
                  <c:v>245</c:v>
                </c:pt>
                <c:pt idx="57">
                  <c:v>246</c:v>
                </c:pt>
                <c:pt idx="58">
                  <c:v>246</c:v>
                </c:pt>
                <c:pt idx="59">
                  <c:v>247</c:v>
                </c:pt>
                <c:pt idx="60">
                  <c:v>247</c:v>
                </c:pt>
                <c:pt idx="61">
                  <c:v>248</c:v>
                </c:pt>
                <c:pt idx="62">
                  <c:v>248</c:v>
                </c:pt>
                <c:pt idx="63">
                  <c:v>249</c:v>
                </c:pt>
                <c:pt idx="64">
                  <c:v>249</c:v>
                </c:pt>
                <c:pt idx="65">
                  <c:v>250</c:v>
                </c:pt>
                <c:pt idx="66">
                  <c:v>251</c:v>
                </c:pt>
                <c:pt idx="67">
                  <c:v>252</c:v>
                </c:pt>
                <c:pt idx="68">
                  <c:v>253</c:v>
                </c:pt>
                <c:pt idx="69">
                  <c:v>253</c:v>
                </c:pt>
                <c:pt idx="70">
                  <c:v>254</c:v>
                </c:pt>
                <c:pt idx="71">
                  <c:v>256</c:v>
                </c:pt>
                <c:pt idx="72">
                  <c:v>258</c:v>
                </c:pt>
                <c:pt idx="73">
                  <c:v>260</c:v>
                </c:pt>
                <c:pt idx="74">
                  <c:v>263</c:v>
                </c:pt>
                <c:pt idx="75">
                  <c:v>263</c:v>
                </c:pt>
                <c:pt idx="76">
                  <c:v>264</c:v>
                </c:pt>
                <c:pt idx="77">
                  <c:v>265</c:v>
                </c:pt>
                <c:pt idx="78">
                  <c:v>265</c:v>
                </c:pt>
                <c:pt idx="79">
                  <c:v>266</c:v>
                </c:pt>
                <c:pt idx="80">
                  <c:v>266</c:v>
                </c:pt>
                <c:pt idx="81">
                  <c:v>268</c:v>
                </c:pt>
                <c:pt idx="82">
                  <c:v>269</c:v>
                </c:pt>
                <c:pt idx="83">
                  <c:v>269</c:v>
                </c:pt>
                <c:pt idx="84">
                  <c:v>270</c:v>
                </c:pt>
                <c:pt idx="85">
                  <c:v>270</c:v>
                </c:pt>
                <c:pt idx="86">
                  <c:v>272</c:v>
                </c:pt>
                <c:pt idx="87">
                  <c:v>271</c:v>
                </c:pt>
                <c:pt idx="88">
                  <c:v>272</c:v>
                </c:pt>
                <c:pt idx="89">
                  <c:v>272</c:v>
                </c:pt>
                <c:pt idx="90">
                  <c:v>268</c:v>
                </c:pt>
                <c:pt idx="91">
                  <c:v>263</c:v>
                </c:pt>
                <c:pt idx="92">
                  <c:v>261</c:v>
                </c:pt>
                <c:pt idx="93">
                  <c:v>264</c:v>
                </c:pt>
                <c:pt idx="94">
                  <c:v>264</c:v>
                </c:pt>
                <c:pt idx="95">
                  <c:v>265</c:v>
                </c:pt>
                <c:pt idx="96">
                  <c:v>268</c:v>
                </c:pt>
                <c:pt idx="97">
                  <c:v>273</c:v>
                </c:pt>
                <c:pt idx="98">
                  <c:v>276</c:v>
                </c:pt>
                <c:pt idx="99">
                  <c:v>280</c:v>
                </c:pt>
                <c:pt idx="100">
                  <c:v>282</c:v>
                </c:pt>
                <c:pt idx="101">
                  <c:v>285</c:v>
                </c:pt>
                <c:pt idx="102">
                  <c:v>286</c:v>
                </c:pt>
                <c:pt idx="103">
                  <c:v>288</c:v>
                </c:pt>
                <c:pt idx="104">
                  <c:v>291</c:v>
                </c:pt>
                <c:pt idx="105">
                  <c:v>292</c:v>
                </c:pt>
                <c:pt idx="106">
                  <c:v>293</c:v>
                </c:pt>
                <c:pt idx="107">
                  <c:v>294</c:v>
                </c:pt>
                <c:pt idx="108">
                  <c:v>294</c:v>
                </c:pt>
                <c:pt idx="109">
                  <c:v>295</c:v>
                </c:pt>
                <c:pt idx="110">
                  <c:v>296</c:v>
                </c:pt>
                <c:pt idx="111">
                  <c:v>298</c:v>
                </c:pt>
                <c:pt idx="112">
                  <c:v>298</c:v>
                </c:pt>
                <c:pt idx="113">
                  <c:v>300</c:v>
                </c:pt>
                <c:pt idx="114">
                  <c:v>301</c:v>
                </c:pt>
                <c:pt idx="115">
                  <c:v>303</c:v>
                </c:pt>
                <c:pt idx="116">
                  <c:v>304</c:v>
                </c:pt>
                <c:pt idx="117">
                  <c:v>306</c:v>
                </c:pt>
                <c:pt idx="118">
                  <c:v>308</c:v>
                </c:pt>
                <c:pt idx="119">
                  <c:v>310</c:v>
                </c:pt>
                <c:pt idx="120">
                  <c:v>312</c:v>
                </c:pt>
                <c:pt idx="121">
                  <c:v>315</c:v>
                </c:pt>
                <c:pt idx="122">
                  <c:v>320</c:v>
                </c:pt>
                <c:pt idx="123">
                  <c:v>323</c:v>
                </c:pt>
                <c:pt idx="124">
                  <c:v>325</c:v>
                </c:pt>
                <c:pt idx="125">
                  <c:v>325</c:v>
                </c:pt>
                <c:pt idx="126">
                  <c:v>327</c:v>
                </c:pt>
                <c:pt idx="127">
                  <c:v>328</c:v>
                </c:pt>
                <c:pt idx="128">
                  <c:v>329</c:v>
                </c:pt>
                <c:pt idx="129">
                  <c:v>329</c:v>
                </c:pt>
                <c:pt idx="130">
                  <c:v>329</c:v>
                </c:pt>
                <c:pt idx="131">
                  <c:v>330</c:v>
                </c:pt>
                <c:pt idx="132">
                  <c:v>331</c:v>
                </c:pt>
                <c:pt idx="133">
                  <c:v>332</c:v>
                </c:pt>
                <c:pt idx="134">
                  <c:v>333</c:v>
                </c:pt>
                <c:pt idx="135">
                  <c:v>333</c:v>
                </c:pt>
                <c:pt idx="136">
                  <c:v>334</c:v>
                </c:pt>
                <c:pt idx="137">
                  <c:v>335</c:v>
                </c:pt>
                <c:pt idx="138">
                  <c:v>336</c:v>
                </c:pt>
                <c:pt idx="139">
                  <c:v>338</c:v>
                </c:pt>
                <c:pt idx="140">
                  <c:v>339</c:v>
                </c:pt>
                <c:pt idx="141">
                  <c:v>341</c:v>
                </c:pt>
                <c:pt idx="142">
                  <c:v>344</c:v>
                </c:pt>
                <c:pt idx="143">
                  <c:v>345</c:v>
                </c:pt>
                <c:pt idx="144">
                  <c:v>347</c:v>
                </c:pt>
                <c:pt idx="145">
                  <c:v>350</c:v>
                </c:pt>
                <c:pt idx="146">
                  <c:v>353</c:v>
                </c:pt>
                <c:pt idx="147">
                  <c:v>355</c:v>
                </c:pt>
                <c:pt idx="148">
                  <c:v>355</c:v>
                </c:pt>
                <c:pt idx="149">
                  <c:v>355</c:v>
                </c:pt>
                <c:pt idx="150">
                  <c:v>356</c:v>
                </c:pt>
                <c:pt idx="151">
                  <c:v>356</c:v>
                </c:pt>
                <c:pt idx="152">
                  <c:v>356</c:v>
                </c:pt>
                <c:pt idx="153">
                  <c:v>356</c:v>
                </c:pt>
                <c:pt idx="154">
                  <c:v>356</c:v>
                </c:pt>
                <c:pt idx="155">
                  <c:v>357</c:v>
                </c:pt>
                <c:pt idx="156">
                  <c:v>357</c:v>
                </c:pt>
                <c:pt idx="157">
                  <c:v>357</c:v>
                </c:pt>
                <c:pt idx="158">
                  <c:v>357</c:v>
                </c:pt>
                <c:pt idx="159">
                  <c:v>357</c:v>
                </c:pt>
                <c:pt idx="160">
                  <c:v>357</c:v>
                </c:pt>
                <c:pt idx="161">
                  <c:v>358</c:v>
                </c:pt>
                <c:pt idx="162">
                  <c:v>359</c:v>
                </c:pt>
                <c:pt idx="163">
                  <c:v>359</c:v>
                </c:pt>
                <c:pt idx="164">
                  <c:v>362</c:v>
                </c:pt>
                <c:pt idx="165">
                  <c:v>364</c:v>
                </c:pt>
                <c:pt idx="166">
                  <c:v>366</c:v>
                </c:pt>
                <c:pt idx="167">
                  <c:v>368</c:v>
                </c:pt>
                <c:pt idx="168">
                  <c:v>370</c:v>
                </c:pt>
                <c:pt idx="169">
                  <c:v>363</c:v>
                </c:pt>
                <c:pt idx="170">
                  <c:v>367</c:v>
                </c:pt>
                <c:pt idx="171">
                  <c:v>374</c:v>
                </c:pt>
                <c:pt idx="172">
                  <c:v>376</c:v>
                </c:pt>
                <c:pt idx="173">
                  <c:v>378</c:v>
                </c:pt>
                <c:pt idx="174">
                  <c:v>381</c:v>
                </c:pt>
                <c:pt idx="175">
                  <c:v>381</c:v>
                </c:pt>
                <c:pt idx="176">
                  <c:v>382</c:v>
                </c:pt>
                <c:pt idx="177">
                  <c:v>382</c:v>
                </c:pt>
                <c:pt idx="178">
                  <c:v>382</c:v>
                </c:pt>
                <c:pt idx="179">
                  <c:v>382</c:v>
                </c:pt>
                <c:pt idx="180">
                  <c:v>383</c:v>
                </c:pt>
                <c:pt idx="181">
                  <c:v>382</c:v>
                </c:pt>
                <c:pt idx="182">
                  <c:v>382</c:v>
                </c:pt>
                <c:pt idx="183">
                  <c:v>382</c:v>
                </c:pt>
                <c:pt idx="184">
                  <c:v>382</c:v>
                </c:pt>
                <c:pt idx="185">
                  <c:v>382</c:v>
                </c:pt>
                <c:pt idx="186">
                  <c:v>382</c:v>
                </c:pt>
                <c:pt idx="187">
                  <c:v>379</c:v>
                </c:pt>
                <c:pt idx="188">
                  <c:v>382</c:v>
                </c:pt>
                <c:pt idx="189">
                  <c:v>384</c:v>
                </c:pt>
                <c:pt idx="190">
                  <c:v>388</c:v>
                </c:pt>
                <c:pt idx="191">
                  <c:v>400</c:v>
                </c:pt>
                <c:pt idx="192">
                  <c:v>405</c:v>
                </c:pt>
                <c:pt idx="193">
                  <c:v>409</c:v>
                </c:pt>
                <c:pt idx="194">
                  <c:v>411</c:v>
                </c:pt>
                <c:pt idx="195">
                  <c:v>413</c:v>
                </c:pt>
                <c:pt idx="196">
                  <c:v>413</c:v>
                </c:pt>
                <c:pt idx="197">
                  <c:v>415</c:v>
                </c:pt>
                <c:pt idx="198">
                  <c:v>415</c:v>
                </c:pt>
                <c:pt idx="199">
                  <c:v>416</c:v>
                </c:pt>
                <c:pt idx="200">
                  <c:v>418</c:v>
                </c:pt>
                <c:pt idx="201">
                  <c:v>419</c:v>
                </c:pt>
                <c:pt idx="202">
                  <c:v>419</c:v>
                </c:pt>
                <c:pt idx="203">
                  <c:v>420</c:v>
                </c:pt>
                <c:pt idx="204">
                  <c:v>420</c:v>
                </c:pt>
                <c:pt idx="205">
                  <c:v>422</c:v>
                </c:pt>
                <c:pt idx="206">
                  <c:v>420</c:v>
                </c:pt>
                <c:pt idx="207">
                  <c:v>421</c:v>
                </c:pt>
                <c:pt idx="208">
                  <c:v>420</c:v>
                </c:pt>
                <c:pt idx="209">
                  <c:v>421</c:v>
                </c:pt>
                <c:pt idx="210">
                  <c:v>421</c:v>
                </c:pt>
                <c:pt idx="211">
                  <c:v>418</c:v>
                </c:pt>
                <c:pt idx="212">
                  <c:v>417</c:v>
                </c:pt>
                <c:pt idx="213">
                  <c:v>420</c:v>
                </c:pt>
                <c:pt idx="214">
                  <c:v>423</c:v>
                </c:pt>
                <c:pt idx="215">
                  <c:v>424</c:v>
                </c:pt>
                <c:pt idx="216">
                  <c:v>427</c:v>
                </c:pt>
                <c:pt idx="217">
                  <c:v>428</c:v>
                </c:pt>
                <c:pt idx="218">
                  <c:v>429</c:v>
                </c:pt>
                <c:pt idx="219">
                  <c:v>430</c:v>
                </c:pt>
                <c:pt idx="220">
                  <c:v>430</c:v>
                </c:pt>
                <c:pt idx="221">
                  <c:v>430</c:v>
                </c:pt>
                <c:pt idx="222">
                  <c:v>429</c:v>
                </c:pt>
                <c:pt idx="223">
                  <c:v>429</c:v>
                </c:pt>
                <c:pt idx="224">
                  <c:v>429</c:v>
                </c:pt>
                <c:pt idx="225">
                  <c:v>429</c:v>
                </c:pt>
                <c:pt idx="226">
                  <c:v>428</c:v>
                </c:pt>
                <c:pt idx="227">
                  <c:v>428</c:v>
                </c:pt>
                <c:pt idx="228">
                  <c:v>428</c:v>
                </c:pt>
                <c:pt idx="229">
                  <c:v>427</c:v>
                </c:pt>
                <c:pt idx="230">
                  <c:v>428</c:v>
                </c:pt>
                <c:pt idx="231">
                  <c:v>428</c:v>
                </c:pt>
                <c:pt idx="232">
                  <c:v>427</c:v>
                </c:pt>
                <c:pt idx="233">
                  <c:v>426</c:v>
                </c:pt>
                <c:pt idx="234">
                  <c:v>427</c:v>
                </c:pt>
                <c:pt idx="235">
                  <c:v>428</c:v>
                </c:pt>
                <c:pt idx="236">
                  <c:v>422</c:v>
                </c:pt>
                <c:pt idx="237">
                  <c:v>422</c:v>
                </c:pt>
                <c:pt idx="238">
                  <c:v>425</c:v>
                </c:pt>
                <c:pt idx="239">
                  <c:v>425</c:v>
                </c:pt>
                <c:pt idx="240">
                  <c:v>427</c:v>
                </c:pt>
                <c:pt idx="241">
                  <c:v>427</c:v>
                </c:pt>
                <c:pt idx="242">
                  <c:v>428</c:v>
                </c:pt>
                <c:pt idx="243">
                  <c:v>428</c:v>
                </c:pt>
                <c:pt idx="244">
                  <c:v>428</c:v>
                </c:pt>
                <c:pt idx="245">
                  <c:v>428</c:v>
                </c:pt>
                <c:pt idx="246">
                  <c:v>429</c:v>
                </c:pt>
                <c:pt idx="247">
                  <c:v>427</c:v>
                </c:pt>
                <c:pt idx="248">
                  <c:v>426</c:v>
                </c:pt>
                <c:pt idx="249">
                  <c:v>424</c:v>
                </c:pt>
                <c:pt idx="250">
                  <c:v>424</c:v>
                </c:pt>
                <c:pt idx="251">
                  <c:v>422</c:v>
                </c:pt>
                <c:pt idx="252">
                  <c:v>421</c:v>
                </c:pt>
                <c:pt idx="253">
                  <c:v>420</c:v>
                </c:pt>
                <c:pt idx="254">
                  <c:v>419</c:v>
                </c:pt>
                <c:pt idx="255">
                  <c:v>419</c:v>
                </c:pt>
                <c:pt idx="256">
                  <c:v>418</c:v>
                </c:pt>
                <c:pt idx="257">
                  <c:v>418</c:v>
                </c:pt>
                <c:pt idx="258">
                  <c:v>419</c:v>
                </c:pt>
                <c:pt idx="259">
                  <c:v>420</c:v>
                </c:pt>
                <c:pt idx="260">
                  <c:v>421</c:v>
                </c:pt>
                <c:pt idx="261">
                  <c:v>422</c:v>
                </c:pt>
                <c:pt idx="262">
                  <c:v>417</c:v>
                </c:pt>
                <c:pt idx="263">
                  <c:v>417</c:v>
                </c:pt>
                <c:pt idx="264">
                  <c:v>418</c:v>
                </c:pt>
                <c:pt idx="265">
                  <c:v>416</c:v>
                </c:pt>
                <c:pt idx="266">
                  <c:v>419</c:v>
                </c:pt>
                <c:pt idx="267">
                  <c:v>421</c:v>
                </c:pt>
                <c:pt idx="268">
                  <c:v>422</c:v>
                </c:pt>
                <c:pt idx="269">
                  <c:v>424</c:v>
                </c:pt>
                <c:pt idx="270">
                  <c:v>425</c:v>
                </c:pt>
                <c:pt idx="271">
                  <c:v>427</c:v>
                </c:pt>
                <c:pt idx="272">
                  <c:v>428</c:v>
                </c:pt>
                <c:pt idx="273">
                  <c:v>429</c:v>
                </c:pt>
                <c:pt idx="274">
                  <c:v>430</c:v>
                </c:pt>
                <c:pt idx="275">
                  <c:v>430</c:v>
                </c:pt>
                <c:pt idx="276">
                  <c:v>432</c:v>
                </c:pt>
                <c:pt idx="277">
                  <c:v>430</c:v>
                </c:pt>
                <c:pt idx="278">
                  <c:v>430</c:v>
                </c:pt>
                <c:pt idx="279">
                  <c:v>432</c:v>
                </c:pt>
                <c:pt idx="280">
                  <c:v>431</c:v>
                </c:pt>
                <c:pt idx="281">
                  <c:v>431</c:v>
                </c:pt>
                <c:pt idx="282">
                  <c:v>432</c:v>
                </c:pt>
                <c:pt idx="283">
                  <c:v>432</c:v>
                </c:pt>
                <c:pt idx="284">
                  <c:v>433</c:v>
                </c:pt>
                <c:pt idx="285">
                  <c:v>433</c:v>
                </c:pt>
                <c:pt idx="286">
                  <c:v>434</c:v>
                </c:pt>
                <c:pt idx="287">
                  <c:v>429</c:v>
                </c:pt>
                <c:pt idx="288">
                  <c:v>430</c:v>
                </c:pt>
                <c:pt idx="289">
                  <c:v>432</c:v>
                </c:pt>
                <c:pt idx="290">
                  <c:v>434</c:v>
                </c:pt>
                <c:pt idx="291">
                  <c:v>435</c:v>
                </c:pt>
                <c:pt idx="292">
                  <c:v>436</c:v>
                </c:pt>
                <c:pt idx="293">
                  <c:v>436</c:v>
                </c:pt>
                <c:pt idx="294">
                  <c:v>436</c:v>
                </c:pt>
                <c:pt idx="295">
                  <c:v>435</c:v>
                </c:pt>
                <c:pt idx="296">
                  <c:v>435</c:v>
                </c:pt>
                <c:pt idx="297">
                  <c:v>434</c:v>
                </c:pt>
                <c:pt idx="298">
                  <c:v>434</c:v>
                </c:pt>
                <c:pt idx="299">
                  <c:v>433</c:v>
                </c:pt>
                <c:pt idx="300">
                  <c:v>433</c:v>
                </c:pt>
                <c:pt idx="301">
                  <c:v>433</c:v>
                </c:pt>
                <c:pt idx="302">
                  <c:v>433</c:v>
                </c:pt>
                <c:pt idx="303">
                  <c:v>432</c:v>
                </c:pt>
                <c:pt idx="304">
                  <c:v>431</c:v>
                </c:pt>
                <c:pt idx="305">
                  <c:v>431</c:v>
                </c:pt>
                <c:pt idx="306">
                  <c:v>432</c:v>
                </c:pt>
                <c:pt idx="307">
                  <c:v>432</c:v>
                </c:pt>
                <c:pt idx="308">
                  <c:v>432</c:v>
                </c:pt>
                <c:pt idx="309">
                  <c:v>432</c:v>
                </c:pt>
                <c:pt idx="310">
                  <c:v>434</c:v>
                </c:pt>
                <c:pt idx="311">
                  <c:v>432</c:v>
                </c:pt>
                <c:pt idx="312">
                  <c:v>435</c:v>
                </c:pt>
                <c:pt idx="313">
                  <c:v>438</c:v>
                </c:pt>
                <c:pt idx="314">
                  <c:v>440</c:v>
                </c:pt>
                <c:pt idx="315">
                  <c:v>442</c:v>
                </c:pt>
                <c:pt idx="316">
                  <c:v>443</c:v>
                </c:pt>
                <c:pt idx="317">
                  <c:v>443</c:v>
                </c:pt>
                <c:pt idx="318">
                  <c:v>443</c:v>
                </c:pt>
                <c:pt idx="319">
                  <c:v>443</c:v>
                </c:pt>
                <c:pt idx="320">
                  <c:v>442</c:v>
                </c:pt>
                <c:pt idx="321">
                  <c:v>442</c:v>
                </c:pt>
                <c:pt idx="322">
                  <c:v>441</c:v>
                </c:pt>
                <c:pt idx="323">
                  <c:v>440</c:v>
                </c:pt>
                <c:pt idx="324">
                  <c:v>440</c:v>
                </c:pt>
                <c:pt idx="325">
                  <c:v>439</c:v>
                </c:pt>
                <c:pt idx="326">
                  <c:v>439</c:v>
                </c:pt>
                <c:pt idx="327">
                  <c:v>439</c:v>
                </c:pt>
                <c:pt idx="328">
                  <c:v>438</c:v>
                </c:pt>
                <c:pt idx="329">
                  <c:v>438</c:v>
                </c:pt>
                <c:pt idx="330">
                  <c:v>439</c:v>
                </c:pt>
                <c:pt idx="331">
                  <c:v>438</c:v>
                </c:pt>
                <c:pt idx="332">
                  <c:v>439</c:v>
                </c:pt>
                <c:pt idx="333">
                  <c:v>44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8AD-8242-AD3A-8005742506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37287424"/>
        <c:axId val="1905808928"/>
      </c:scatterChart>
      <c:valAx>
        <c:axId val="18372874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ime [days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5808928"/>
        <c:crosses val="autoZero"/>
        <c:crossBetween val="midCat"/>
      </c:valAx>
      <c:valAx>
        <c:axId val="190580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ssure  [hPa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7287424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rgbClr val="D9D9D9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parison of Three Samples with</a:t>
            </a:r>
            <a:r>
              <a:rPr lang="en-US" baseline="0" dirty="0"/>
              <a:t> Screened Cow Manure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10</c:v>
          </c:tx>
          <c:spPr>
            <a:ln w="3492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10 Gülle gesiebt'!$E$20:$E$690</c:f>
              <c:numCache>
                <c:formatCode>0</c:formatCode>
                <c:ptCount val="671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  <c:pt idx="668">
                  <c:v>27.833333333333332</c:v>
                </c:pt>
                <c:pt idx="669">
                  <c:v>27.875</c:v>
                </c:pt>
                <c:pt idx="670">
                  <c:v>27.916666666666668</c:v>
                </c:pt>
              </c:numCache>
            </c:numRef>
          </c:xVal>
          <c:yVal>
            <c:numRef>
              <c:f>'10 Gülle gesiebt'!$D$20:$D$690</c:f>
              <c:numCache>
                <c:formatCode>General</c:formatCode>
                <c:ptCount val="671"/>
                <c:pt idx="0">
                  <c:v>0</c:v>
                </c:pt>
                <c:pt idx="1">
                  <c:v>116</c:v>
                </c:pt>
                <c:pt idx="2">
                  <c:v>147</c:v>
                </c:pt>
                <c:pt idx="3">
                  <c:v>162</c:v>
                </c:pt>
                <c:pt idx="4">
                  <c:v>173</c:v>
                </c:pt>
                <c:pt idx="5">
                  <c:v>178</c:v>
                </c:pt>
                <c:pt idx="6">
                  <c:v>183</c:v>
                </c:pt>
                <c:pt idx="7">
                  <c:v>185</c:v>
                </c:pt>
                <c:pt idx="8">
                  <c:v>187</c:v>
                </c:pt>
                <c:pt idx="9">
                  <c:v>188</c:v>
                </c:pt>
                <c:pt idx="10">
                  <c:v>189</c:v>
                </c:pt>
                <c:pt idx="11">
                  <c:v>189</c:v>
                </c:pt>
                <c:pt idx="12">
                  <c:v>191</c:v>
                </c:pt>
                <c:pt idx="13">
                  <c:v>191</c:v>
                </c:pt>
                <c:pt idx="14">
                  <c:v>191</c:v>
                </c:pt>
                <c:pt idx="15">
                  <c:v>192</c:v>
                </c:pt>
                <c:pt idx="16">
                  <c:v>193</c:v>
                </c:pt>
                <c:pt idx="17">
                  <c:v>209</c:v>
                </c:pt>
                <c:pt idx="18">
                  <c:v>213</c:v>
                </c:pt>
                <c:pt idx="19">
                  <c:v>216</c:v>
                </c:pt>
                <c:pt idx="20">
                  <c:v>218</c:v>
                </c:pt>
                <c:pt idx="21">
                  <c:v>218</c:v>
                </c:pt>
                <c:pt idx="22">
                  <c:v>218</c:v>
                </c:pt>
                <c:pt idx="23">
                  <c:v>220</c:v>
                </c:pt>
                <c:pt idx="24">
                  <c:v>221</c:v>
                </c:pt>
                <c:pt idx="25">
                  <c:v>222</c:v>
                </c:pt>
                <c:pt idx="26">
                  <c:v>207</c:v>
                </c:pt>
                <c:pt idx="27">
                  <c:v>212</c:v>
                </c:pt>
                <c:pt idx="28">
                  <c:v>217</c:v>
                </c:pt>
                <c:pt idx="29">
                  <c:v>220</c:v>
                </c:pt>
                <c:pt idx="30">
                  <c:v>221</c:v>
                </c:pt>
                <c:pt idx="31">
                  <c:v>223</c:v>
                </c:pt>
                <c:pt idx="32">
                  <c:v>224</c:v>
                </c:pt>
                <c:pt idx="33">
                  <c:v>225</c:v>
                </c:pt>
                <c:pt idx="34">
                  <c:v>225</c:v>
                </c:pt>
                <c:pt idx="35">
                  <c:v>226</c:v>
                </c:pt>
                <c:pt idx="36">
                  <c:v>226</c:v>
                </c:pt>
                <c:pt idx="37">
                  <c:v>226</c:v>
                </c:pt>
                <c:pt idx="38">
                  <c:v>226</c:v>
                </c:pt>
                <c:pt idx="39">
                  <c:v>226</c:v>
                </c:pt>
                <c:pt idx="40">
                  <c:v>226</c:v>
                </c:pt>
                <c:pt idx="41">
                  <c:v>226</c:v>
                </c:pt>
                <c:pt idx="42">
                  <c:v>225</c:v>
                </c:pt>
                <c:pt idx="43">
                  <c:v>225</c:v>
                </c:pt>
                <c:pt idx="44">
                  <c:v>226</c:v>
                </c:pt>
                <c:pt idx="45">
                  <c:v>226</c:v>
                </c:pt>
                <c:pt idx="46">
                  <c:v>230</c:v>
                </c:pt>
                <c:pt idx="47">
                  <c:v>232</c:v>
                </c:pt>
                <c:pt idx="48">
                  <c:v>229</c:v>
                </c:pt>
                <c:pt idx="49">
                  <c:v>231</c:v>
                </c:pt>
                <c:pt idx="50">
                  <c:v>232</c:v>
                </c:pt>
                <c:pt idx="51">
                  <c:v>235</c:v>
                </c:pt>
                <c:pt idx="52">
                  <c:v>237</c:v>
                </c:pt>
                <c:pt idx="53">
                  <c:v>239</c:v>
                </c:pt>
                <c:pt idx="54">
                  <c:v>240</c:v>
                </c:pt>
                <c:pt idx="55">
                  <c:v>240</c:v>
                </c:pt>
                <c:pt idx="56">
                  <c:v>241</c:v>
                </c:pt>
                <c:pt idx="57">
                  <c:v>241</c:v>
                </c:pt>
                <c:pt idx="58">
                  <c:v>242</c:v>
                </c:pt>
                <c:pt idx="59">
                  <c:v>242</c:v>
                </c:pt>
                <c:pt idx="60">
                  <c:v>242</c:v>
                </c:pt>
                <c:pt idx="61">
                  <c:v>243</c:v>
                </c:pt>
                <c:pt idx="62">
                  <c:v>243</c:v>
                </c:pt>
                <c:pt idx="63">
                  <c:v>243</c:v>
                </c:pt>
                <c:pt idx="64">
                  <c:v>244</c:v>
                </c:pt>
                <c:pt idx="65">
                  <c:v>244</c:v>
                </c:pt>
                <c:pt idx="66">
                  <c:v>244</c:v>
                </c:pt>
                <c:pt idx="67">
                  <c:v>245</c:v>
                </c:pt>
                <c:pt idx="68">
                  <c:v>245</c:v>
                </c:pt>
                <c:pt idx="69">
                  <c:v>245</c:v>
                </c:pt>
                <c:pt idx="70">
                  <c:v>246</c:v>
                </c:pt>
                <c:pt idx="71">
                  <c:v>247</c:v>
                </c:pt>
                <c:pt idx="72">
                  <c:v>248</c:v>
                </c:pt>
                <c:pt idx="73">
                  <c:v>250</c:v>
                </c:pt>
                <c:pt idx="74">
                  <c:v>252</c:v>
                </c:pt>
                <c:pt idx="75">
                  <c:v>253</c:v>
                </c:pt>
                <c:pt idx="76">
                  <c:v>253</c:v>
                </c:pt>
                <c:pt idx="77">
                  <c:v>252</c:v>
                </c:pt>
                <c:pt idx="78">
                  <c:v>252</c:v>
                </c:pt>
                <c:pt idx="79">
                  <c:v>251</c:v>
                </c:pt>
                <c:pt idx="80">
                  <c:v>251</c:v>
                </c:pt>
                <c:pt idx="81">
                  <c:v>251</c:v>
                </c:pt>
                <c:pt idx="82">
                  <c:v>251</c:v>
                </c:pt>
                <c:pt idx="83">
                  <c:v>251</c:v>
                </c:pt>
                <c:pt idx="84">
                  <c:v>251</c:v>
                </c:pt>
                <c:pt idx="85">
                  <c:v>251</c:v>
                </c:pt>
                <c:pt idx="86">
                  <c:v>251</c:v>
                </c:pt>
                <c:pt idx="87">
                  <c:v>251</c:v>
                </c:pt>
                <c:pt idx="88">
                  <c:v>251</c:v>
                </c:pt>
                <c:pt idx="89">
                  <c:v>251</c:v>
                </c:pt>
                <c:pt idx="90">
                  <c:v>245</c:v>
                </c:pt>
                <c:pt idx="91">
                  <c:v>239</c:v>
                </c:pt>
                <c:pt idx="92">
                  <c:v>236</c:v>
                </c:pt>
                <c:pt idx="93">
                  <c:v>238</c:v>
                </c:pt>
                <c:pt idx="94">
                  <c:v>237</c:v>
                </c:pt>
                <c:pt idx="95">
                  <c:v>237</c:v>
                </c:pt>
                <c:pt idx="96">
                  <c:v>240</c:v>
                </c:pt>
                <c:pt idx="97">
                  <c:v>246</c:v>
                </c:pt>
                <c:pt idx="98">
                  <c:v>251</c:v>
                </c:pt>
                <c:pt idx="99">
                  <c:v>253</c:v>
                </c:pt>
                <c:pt idx="100">
                  <c:v>257</c:v>
                </c:pt>
                <c:pt idx="101">
                  <c:v>259</c:v>
                </c:pt>
                <c:pt idx="102">
                  <c:v>260</c:v>
                </c:pt>
                <c:pt idx="103">
                  <c:v>261</c:v>
                </c:pt>
                <c:pt idx="104">
                  <c:v>261</c:v>
                </c:pt>
                <c:pt idx="105">
                  <c:v>263</c:v>
                </c:pt>
                <c:pt idx="106">
                  <c:v>263</c:v>
                </c:pt>
                <c:pt idx="107">
                  <c:v>264</c:v>
                </c:pt>
                <c:pt idx="108">
                  <c:v>265</c:v>
                </c:pt>
                <c:pt idx="109">
                  <c:v>266</c:v>
                </c:pt>
                <c:pt idx="110">
                  <c:v>266</c:v>
                </c:pt>
                <c:pt idx="111">
                  <c:v>267</c:v>
                </c:pt>
                <c:pt idx="112">
                  <c:v>268</c:v>
                </c:pt>
                <c:pt idx="113">
                  <c:v>269</c:v>
                </c:pt>
                <c:pt idx="114">
                  <c:v>270</c:v>
                </c:pt>
                <c:pt idx="115">
                  <c:v>271</c:v>
                </c:pt>
                <c:pt idx="116">
                  <c:v>273</c:v>
                </c:pt>
                <c:pt idx="117">
                  <c:v>275</c:v>
                </c:pt>
                <c:pt idx="118">
                  <c:v>277</c:v>
                </c:pt>
                <c:pt idx="119">
                  <c:v>279</c:v>
                </c:pt>
                <c:pt idx="120">
                  <c:v>282</c:v>
                </c:pt>
                <c:pt idx="121">
                  <c:v>284</c:v>
                </c:pt>
                <c:pt idx="122">
                  <c:v>288</c:v>
                </c:pt>
                <c:pt idx="123">
                  <c:v>289</c:v>
                </c:pt>
                <c:pt idx="124">
                  <c:v>291</c:v>
                </c:pt>
                <c:pt idx="125">
                  <c:v>292</c:v>
                </c:pt>
                <c:pt idx="126">
                  <c:v>293</c:v>
                </c:pt>
                <c:pt idx="127">
                  <c:v>294</c:v>
                </c:pt>
                <c:pt idx="128">
                  <c:v>295</c:v>
                </c:pt>
                <c:pt idx="129">
                  <c:v>295</c:v>
                </c:pt>
                <c:pt idx="130">
                  <c:v>296</c:v>
                </c:pt>
                <c:pt idx="131">
                  <c:v>297</c:v>
                </c:pt>
                <c:pt idx="132">
                  <c:v>298</c:v>
                </c:pt>
                <c:pt idx="133">
                  <c:v>299</c:v>
                </c:pt>
                <c:pt idx="134">
                  <c:v>300</c:v>
                </c:pt>
                <c:pt idx="135">
                  <c:v>301</c:v>
                </c:pt>
                <c:pt idx="136">
                  <c:v>303</c:v>
                </c:pt>
                <c:pt idx="137">
                  <c:v>303</c:v>
                </c:pt>
                <c:pt idx="138">
                  <c:v>305</c:v>
                </c:pt>
                <c:pt idx="139">
                  <c:v>307</c:v>
                </c:pt>
                <c:pt idx="140">
                  <c:v>309</c:v>
                </c:pt>
                <c:pt idx="141">
                  <c:v>312</c:v>
                </c:pt>
                <c:pt idx="142">
                  <c:v>316</c:v>
                </c:pt>
                <c:pt idx="143">
                  <c:v>319</c:v>
                </c:pt>
                <c:pt idx="144">
                  <c:v>323</c:v>
                </c:pt>
                <c:pt idx="145">
                  <c:v>326</c:v>
                </c:pt>
                <c:pt idx="146">
                  <c:v>330</c:v>
                </c:pt>
                <c:pt idx="147">
                  <c:v>333</c:v>
                </c:pt>
                <c:pt idx="148">
                  <c:v>334</c:v>
                </c:pt>
                <c:pt idx="149">
                  <c:v>335</c:v>
                </c:pt>
                <c:pt idx="150">
                  <c:v>336</c:v>
                </c:pt>
                <c:pt idx="151">
                  <c:v>336</c:v>
                </c:pt>
                <c:pt idx="152">
                  <c:v>337</c:v>
                </c:pt>
                <c:pt idx="153">
                  <c:v>338</c:v>
                </c:pt>
                <c:pt idx="154">
                  <c:v>339</c:v>
                </c:pt>
                <c:pt idx="155">
                  <c:v>340</c:v>
                </c:pt>
                <c:pt idx="156">
                  <c:v>342</c:v>
                </c:pt>
                <c:pt idx="157">
                  <c:v>343</c:v>
                </c:pt>
                <c:pt idx="158">
                  <c:v>344</c:v>
                </c:pt>
                <c:pt idx="159">
                  <c:v>345</c:v>
                </c:pt>
                <c:pt idx="160">
                  <c:v>347</c:v>
                </c:pt>
                <c:pt idx="161">
                  <c:v>349</c:v>
                </c:pt>
                <c:pt idx="162">
                  <c:v>349</c:v>
                </c:pt>
                <c:pt idx="163">
                  <c:v>352</c:v>
                </c:pt>
                <c:pt idx="164">
                  <c:v>356</c:v>
                </c:pt>
                <c:pt idx="165">
                  <c:v>359</c:v>
                </c:pt>
                <c:pt idx="166">
                  <c:v>362</c:v>
                </c:pt>
                <c:pt idx="167">
                  <c:v>366</c:v>
                </c:pt>
                <c:pt idx="168">
                  <c:v>370</c:v>
                </c:pt>
                <c:pt idx="169">
                  <c:v>368</c:v>
                </c:pt>
                <c:pt idx="170">
                  <c:v>371</c:v>
                </c:pt>
                <c:pt idx="171">
                  <c:v>376</c:v>
                </c:pt>
                <c:pt idx="172">
                  <c:v>381</c:v>
                </c:pt>
                <c:pt idx="173">
                  <c:v>383</c:v>
                </c:pt>
                <c:pt idx="174">
                  <c:v>386</c:v>
                </c:pt>
                <c:pt idx="175">
                  <c:v>388</c:v>
                </c:pt>
                <c:pt idx="176">
                  <c:v>391</c:v>
                </c:pt>
                <c:pt idx="177">
                  <c:v>393</c:v>
                </c:pt>
                <c:pt idx="178">
                  <c:v>394</c:v>
                </c:pt>
                <c:pt idx="179">
                  <c:v>396</c:v>
                </c:pt>
                <c:pt idx="180">
                  <c:v>397</c:v>
                </c:pt>
                <c:pt idx="181">
                  <c:v>399</c:v>
                </c:pt>
                <c:pt idx="182">
                  <c:v>401</c:v>
                </c:pt>
                <c:pt idx="183">
                  <c:v>402</c:v>
                </c:pt>
                <c:pt idx="184">
                  <c:v>403</c:v>
                </c:pt>
                <c:pt idx="185">
                  <c:v>405</c:v>
                </c:pt>
                <c:pt idx="186">
                  <c:v>407</c:v>
                </c:pt>
                <c:pt idx="187">
                  <c:v>405</c:v>
                </c:pt>
                <c:pt idx="188">
                  <c:v>411</c:v>
                </c:pt>
                <c:pt idx="189">
                  <c:v>417</c:v>
                </c:pt>
                <c:pt idx="190">
                  <c:v>422</c:v>
                </c:pt>
                <c:pt idx="191">
                  <c:v>443</c:v>
                </c:pt>
                <c:pt idx="192">
                  <c:v>451</c:v>
                </c:pt>
                <c:pt idx="193">
                  <c:v>456</c:v>
                </c:pt>
                <c:pt idx="194">
                  <c:v>461</c:v>
                </c:pt>
                <c:pt idx="195">
                  <c:v>465</c:v>
                </c:pt>
                <c:pt idx="196">
                  <c:v>468</c:v>
                </c:pt>
                <c:pt idx="197">
                  <c:v>471</c:v>
                </c:pt>
                <c:pt idx="198">
                  <c:v>474</c:v>
                </c:pt>
                <c:pt idx="199">
                  <c:v>477</c:v>
                </c:pt>
                <c:pt idx="200">
                  <c:v>481</c:v>
                </c:pt>
                <c:pt idx="201">
                  <c:v>483</c:v>
                </c:pt>
                <c:pt idx="202">
                  <c:v>486</c:v>
                </c:pt>
                <c:pt idx="203">
                  <c:v>489</c:v>
                </c:pt>
                <c:pt idx="204">
                  <c:v>491</c:v>
                </c:pt>
                <c:pt idx="205">
                  <c:v>493</c:v>
                </c:pt>
                <c:pt idx="206">
                  <c:v>495</c:v>
                </c:pt>
                <c:pt idx="207">
                  <c:v>496</c:v>
                </c:pt>
                <c:pt idx="208">
                  <c:v>498</c:v>
                </c:pt>
                <c:pt idx="209">
                  <c:v>500</c:v>
                </c:pt>
                <c:pt idx="210">
                  <c:v>502</c:v>
                </c:pt>
                <c:pt idx="211">
                  <c:v>495</c:v>
                </c:pt>
                <c:pt idx="212">
                  <c:v>500</c:v>
                </c:pt>
                <c:pt idx="213">
                  <c:v>506</c:v>
                </c:pt>
                <c:pt idx="214">
                  <c:v>510</c:v>
                </c:pt>
                <c:pt idx="215">
                  <c:v>515</c:v>
                </c:pt>
                <c:pt idx="216">
                  <c:v>518</c:v>
                </c:pt>
                <c:pt idx="217">
                  <c:v>522</c:v>
                </c:pt>
                <c:pt idx="218">
                  <c:v>525</c:v>
                </c:pt>
                <c:pt idx="219">
                  <c:v>526</c:v>
                </c:pt>
                <c:pt idx="220">
                  <c:v>527</c:v>
                </c:pt>
                <c:pt idx="221">
                  <c:v>529</c:v>
                </c:pt>
                <c:pt idx="222">
                  <c:v>529</c:v>
                </c:pt>
                <c:pt idx="223">
                  <c:v>530</c:v>
                </c:pt>
                <c:pt idx="224">
                  <c:v>531</c:v>
                </c:pt>
                <c:pt idx="225">
                  <c:v>531</c:v>
                </c:pt>
                <c:pt idx="226">
                  <c:v>532</c:v>
                </c:pt>
                <c:pt idx="227">
                  <c:v>532</c:v>
                </c:pt>
                <c:pt idx="228">
                  <c:v>533</c:v>
                </c:pt>
                <c:pt idx="229">
                  <c:v>534</c:v>
                </c:pt>
                <c:pt idx="230">
                  <c:v>534</c:v>
                </c:pt>
                <c:pt idx="231">
                  <c:v>535</c:v>
                </c:pt>
                <c:pt idx="232">
                  <c:v>536</c:v>
                </c:pt>
                <c:pt idx="233">
                  <c:v>536</c:v>
                </c:pt>
                <c:pt idx="234">
                  <c:v>537</c:v>
                </c:pt>
                <c:pt idx="235">
                  <c:v>538</c:v>
                </c:pt>
                <c:pt idx="236">
                  <c:v>533</c:v>
                </c:pt>
                <c:pt idx="237">
                  <c:v>536</c:v>
                </c:pt>
                <c:pt idx="238">
                  <c:v>539</c:v>
                </c:pt>
                <c:pt idx="239">
                  <c:v>542</c:v>
                </c:pt>
                <c:pt idx="240">
                  <c:v>544</c:v>
                </c:pt>
                <c:pt idx="241">
                  <c:v>546</c:v>
                </c:pt>
                <c:pt idx="242">
                  <c:v>548</c:v>
                </c:pt>
                <c:pt idx="243">
                  <c:v>548</c:v>
                </c:pt>
                <c:pt idx="244">
                  <c:v>550</c:v>
                </c:pt>
                <c:pt idx="245">
                  <c:v>550</c:v>
                </c:pt>
                <c:pt idx="246">
                  <c:v>551</c:v>
                </c:pt>
                <c:pt idx="247">
                  <c:v>550</c:v>
                </c:pt>
                <c:pt idx="248">
                  <c:v>550</c:v>
                </c:pt>
                <c:pt idx="249">
                  <c:v>550</c:v>
                </c:pt>
                <c:pt idx="250">
                  <c:v>549</c:v>
                </c:pt>
                <c:pt idx="251">
                  <c:v>549</c:v>
                </c:pt>
                <c:pt idx="252">
                  <c:v>548</c:v>
                </c:pt>
                <c:pt idx="253">
                  <c:v>548</c:v>
                </c:pt>
                <c:pt idx="254">
                  <c:v>547</c:v>
                </c:pt>
                <c:pt idx="255">
                  <c:v>547</c:v>
                </c:pt>
                <c:pt idx="256">
                  <c:v>548</c:v>
                </c:pt>
                <c:pt idx="257">
                  <c:v>549</c:v>
                </c:pt>
                <c:pt idx="258">
                  <c:v>551</c:v>
                </c:pt>
                <c:pt idx="259">
                  <c:v>553</c:v>
                </c:pt>
                <c:pt idx="260">
                  <c:v>554</c:v>
                </c:pt>
                <c:pt idx="261">
                  <c:v>557</c:v>
                </c:pt>
                <c:pt idx="262">
                  <c:v>572</c:v>
                </c:pt>
                <c:pt idx="263">
                  <c:v>574</c:v>
                </c:pt>
                <c:pt idx="264">
                  <c:v>575</c:v>
                </c:pt>
                <c:pt idx="265">
                  <c:v>576</c:v>
                </c:pt>
                <c:pt idx="266">
                  <c:v>579</c:v>
                </c:pt>
                <c:pt idx="267">
                  <c:v>580</c:v>
                </c:pt>
                <c:pt idx="268">
                  <c:v>585</c:v>
                </c:pt>
                <c:pt idx="269">
                  <c:v>588</c:v>
                </c:pt>
                <c:pt idx="270">
                  <c:v>591</c:v>
                </c:pt>
                <c:pt idx="271">
                  <c:v>593</c:v>
                </c:pt>
                <c:pt idx="272">
                  <c:v>595</c:v>
                </c:pt>
                <c:pt idx="273">
                  <c:v>597</c:v>
                </c:pt>
                <c:pt idx="274">
                  <c:v>598</c:v>
                </c:pt>
                <c:pt idx="275">
                  <c:v>600</c:v>
                </c:pt>
                <c:pt idx="276">
                  <c:v>601</c:v>
                </c:pt>
                <c:pt idx="277">
                  <c:v>602</c:v>
                </c:pt>
                <c:pt idx="278">
                  <c:v>603</c:v>
                </c:pt>
                <c:pt idx="279">
                  <c:v>605</c:v>
                </c:pt>
                <c:pt idx="280">
                  <c:v>606</c:v>
                </c:pt>
                <c:pt idx="281">
                  <c:v>608</c:v>
                </c:pt>
                <c:pt idx="282">
                  <c:v>610</c:v>
                </c:pt>
                <c:pt idx="283">
                  <c:v>611</c:v>
                </c:pt>
                <c:pt idx="284">
                  <c:v>613</c:v>
                </c:pt>
                <c:pt idx="285">
                  <c:v>615</c:v>
                </c:pt>
                <c:pt idx="286">
                  <c:v>618</c:v>
                </c:pt>
                <c:pt idx="287">
                  <c:v>615</c:v>
                </c:pt>
                <c:pt idx="288">
                  <c:v>618</c:v>
                </c:pt>
                <c:pt idx="289">
                  <c:v>621</c:v>
                </c:pt>
                <c:pt idx="290">
                  <c:v>625</c:v>
                </c:pt>
                <c:pt idx="291">
                  <c:v>627</c:v>
                </c:pt>
                <c:pt idx="292">
                  <c:v>629</c:v>
                </c:pt>
                <c:pt idx="293">
                  <c:v>631</c:v>
                </c:pt>
                <c:pt idx="294">
                  <c:v>631</c:v>
                </c:pt>
                <c:pt idx="295">
                  <c:v>632</c:v>
                </c:pt>
                <c:pt idx="296">
                  <c:v>633</c:v>
                </c:pt>
                <c:pt idx="297">
                  <c:v>633</c:v>
                </c:pt>
                <c:pt idx="298">
                  <c:v>634</c:v>
                </c:pt>
                <c:pt idx="299">
                  <c:v>635</c:v>
                </c:pt>
                <c:pt idx="300">
                  <c:v>636</c:v>
                </c:pt>
                <c:pt idx="301">
                  <c:v>637</c:v>
                </c:pt>
                <c:pt idx="302">
                  <c:v>637</c:v>
                </c:pt>
                <c:pt idx="303">
                  <c:v>639</c:v>
                </c:pt>
                <c:pt idx="304">
                  <c:v>640</c:v>
                </c:pt>
                <c:pt idx="305">
                  <c:v>641</c:v>
                </c:pt>
                <c:pt idx="306">
                  <c:v>643</c:v>
                </c:pt>
                <c:pt idx="307">
                  <c:v>645</c:v>
                </c:pt>
                <c:pt idx="308">
                  <c:v>647</c:v>
                </c:pt>
                <c:pt idx="309">
                  <c:v>649</c:v>
                </c:pt>
                <c:pt idx="310">
                  <c:v>652</c:v>
                </c:pt>
                <c:pt idx="311">
                  <c:v>652</c:v>
                </c:pt>
                <c:pt idx="312">
                  <c:v>657</c:v>
                </c:pt>
                <c:pt idx="313">
                  <c:v>662</c:v>
                </c:pt>
                <c:pt idx="314">
                  <c:v>667</c:v>
                </c:pt>
                <c:pt idx="315">
                  <c:v>671</c:v>
                </c:pt>
                <c:pt idx="316">
                  <c:v>673</c:v>
                </c:pt>
                <c:pt idx="317">
                  <c:v>674</c:v>
                </c:pt>
                <c:pt idx="318">
                  <c:v>675</c:v>
                </c:pt>
                <c:pt idx="319">
                  <c:v>676</c:v>
                </c:pt>
                <c:pt idx="320">
                  <c:v>677</c:v>
                </c:pt>
                <c:pt idx="321">
                  <c:v>678</c:v>
                </c:pt>
                <c:pt idx="322">
                  <c:v>679</c:v>
                </c:pt>
                <c:pt idx="323">
                  <c:v>680</c:v>
                </c:pt>
                <c:pt idx="324">
                  <c:v>681</c:v>
                </c:pt>
                <c:pt idx="325">
                  <c:v>682</c:v>
                </c:pt>
                <c:pt idx="326">
                  <c:v>684</c:v>
                </c:pt>
                <c:pt idx="327">
                  <c:v>685</c:v>
                </c:pt>
                <c:pt idx="328">
                  <c:v>686</c:v>
                </c:pt>
                <c:pt idx="329">
                  <c:v>688</c:v>
                </c:pt>
                <c:pt idx="330">
                  <c:v>689</c:v>
                </c:pt>
                <c:pt idx="331">
                  <c:v>691</c:v>
                </c:pt>
                <c:pt idx="332">
                  <c:v>693</c:v>
                </c:pt>
                <c:pt idx="333">
                  <c:v>696</c:v>
                </c:pt>
                <c:pt idx="334">
                  <c:v>696</c:v>
                </c:pt>
                <c:pt idx="335">
                  <c:v>706</c:v>
                </c:pt>
                <c:pt idx="336">
                  <c:v>689</c:v>
                </c:pt>
                <c:pt idx="337">
                  <c:v>695</c:v>
                </c:pt>
                <c:pt idx="338">
                  <c:v>704</c:v>
                </c:pt>
                <c:pt idx="339">
                  <c:v>712</c:v>
                </c:pt>
                <c:pt idx="340">
                  <c:v>718</c:v>
                </c:pt>
                <c:pt idx="341">
                  <c:v>723</c:v>
                </c:pt>
                <c:pt idx="342">
                  <c:v>727</c:v>
                </c:pt>
                <c:pt idx="343">
                  <c:v>729</c:v>
                </c:pt>
                <c:pt idx="344">
                  <c:v>733</c:v>
                </c:pt>
                <c:pt idx="345">
                  <c:v>735</c:v>
                </c:pt>
                <c:pt idx="346">
                  <c:v>736</c:v>
                </c:pt>
                <c:pt idx="347">
                  <c:v>739</c:v>
                </c:pt>
                <c:pt idx="348">
                  <c:v>741</c:v>
                </c:pt>
                <c:pt idx="349">
                  <c:v>742</c:v>
                </c:pt>
                <c:pt idx="350">
                  <c:v>744</c:v>
                </c:pt>
                <c:pt idx="351">
                  <c:v>746</c:v>
                </c:pt>
                <c:pt idx="352">
                  <c:v>747</c:v>
                </c:pt>
                <c:pt idx="353">
                  <c:v>749</c:v>
                </c:pt>
                <c:pt idx="354">
                  <c:v>745</c:v>
                </c:pt>
                <c:pt idx="355">
                  <c:v>752</c:v>
                </c:pt>
                <c:pt idx="356">
                  <c:v>758</c:v>
                </c:pt>
                <c:pt idx="357">
                  <c:v>761</c:v>
                </c:pt>
                <c:pt idx="358">
                  <c:v>787</c:v>
                </c:pt>
                <c:pt idx="359">
                  <c:v>796</c:v>
                </c:pt>
                <c:pt idx="360">
                  <c:v>801</c:v>
                </c:pt>
                <c:pt idx="361">
                  <c:v>805</c:v>
                </c:pt>
                <c:pt idx="362">
                  <c:v>806</c:v>
                </c:pt>
                <c:pt idx="363">
                  <c:v>810</c:v>
                </c:pt>
                <c:pt idx="364">
                  <c:v>813</c:v>
                </c:pt>
                <c:pt idx="365">
                  <c:v>816</c:v>
                </c:pt>
                <c:pt idx="366">
                  <c:v>818</c:v>
                </c:pt>
                <c:pt idx="367">
                  <c:v>819</c:v>
                </c:pt>
                <c:pt idx="368">
                  <c:v>821</c:v>
                </c:pt>
                <c:pt idx="369">
                  <c:v>822</c:v>
                </c:pt>
                <c:pt idx="370">
                  <c:v>823</c:v>
                </c:pt>
                <c:pt idx="371">
                  <c:v>825</c:v>
                </c:pt>
                <c:pt idx="372">
                  <c:v>826</c:v>
                </c:pt>
                <c:pt idx="373">
                  <c:v>827</c:v>
                </c:pt>
                <c:pt idx="374">
                  <c:v>829</c:v>
                </c:pt>
                <c:pt idx="375">
                  <c:v>829</c:v>
                </c:pt>
                <c:pt idx="376">
                  <c:v>831</c:v>
                </c:pt>
                <c:pt idx="377">
                  <c:v>833</c:v>
                </c:pt>
                <c:pt idx="378">
                  <c:v>835</c:v>
                </c:pt>
                <c:pt idx="379">
                  <c:v>837</c:v>
                </c:pt>
                <c:pt idx="380">
                  <c:v>840</c:v>
                </c:pt>
                <c:pt idx="381">
                  <c:v>843</c:v>
                </c:pt>
                <c:pt idx="382">
                  <c:v>847</c:v>
                </c:pt>
                <c:pt idx="383">
                  <c:v>851</c:v>
                </c:pt>
                <c:pt idx="384">
                  <c:v>859</c:v>
                </c:pt>
                <c:pt idx="385">
                  <c:v>865</c:v>
                </c:pt>
                <c:pt idx="386">
                  <c:v>868</c:v>
                </c:pt>
                <c:pt idx="387">
                  <c:v>869</c:v>
                </c:pt>
                <c:pt idx="388">
                  <c:v>869</c:v>
                </c:pt>
                <c:pt idx="389">
                  <c:v>870</c:v>
                </c:pt>
                <c:pt idx="390">
                  <c:v>871</c:v>
                </c:pt>
                <c:pt idx="391">
                  <c:v>872</c:v>
                </c:pt>
                <c:pt idx="392">
                  <c:v>873</c:v>
                </c:pt>
                <c:pt idx="393">
                  <c:v>874</c:v>
                </c:pt>
                <c:pt idx="394">
                  <c:v>874</c:v>
                </c:pt>
                <c:pt idx="395">
                  <c:v>875</c:v>
                </c:pt>
                <c:pt idx="396">
                  <c:v>877</c:v>
                </c:pt>
                <c:pt idx="397">
                  <c:v>877</c:v>
                </c:pt>
                <c:pt idx="398">
                  <c:v>878</c:v>
                </c:pt>
                <c:pt idx="399">
                  <c:v>880</c:v>
                </c:pt>
                <c:pt idx="400">
                  <c:v>881</c:v>
                </c:pt>
                <c:pt idx="401">
                  <c:v>883</c:v>
                </c:pt>
                <c:pt idx="402">
                  <c:v>881</c:v>
                </c:pt>
                <c:pt idx="403">
                  <c:v>884</c:v>
                </c:pt>
                <c:pt idx="404">
                  <c:v>887</c:v>
                </c:pt>
                <c:pt idx="405">
                  <c:v>889</c:v>
                </c:pt>
                <c:pt idx="406">
                  <c:v>891</c:v>
                </c:pt>
                <c:pt idx="407">
                  <c:v>893</c:v>
                </c:pt>
                <c:pt idx="408">
                  <c:v>887</c:v>
                </c:pt>
                <c:pt idx="409">
                  <c:v>891</c:v>
                </c:pt>
                <c:pt idx="410">
                  <c:v>894</c:v>
                </c:pt>
                <c:pt idx="411">
                  <c:v>900</c:v>
                </c:pt>
                <c:pt idx="412">
                  <c:v>903</c:v>
                </c:pt>
                <c:pt idx="413">
                  <c:v>906</c:v>
                </c:pt>
                <c:pt idx="414">
                  <c:v>908</c:v>
                </c:pt>
                <c:pt idx="415">
                  <c:v>910</c:v>
                </c:pt>
                <c:pt idx="416">
                  <c:v>911</c:v>
                </c:pt>
                <c:pt idx="417">
                  <c:v>912</c:v>
                </c:pt>
                <c:pt idx="418">
                  <c:v>913</c:v>
                </c:pt>
                <c:pt idx="419">
                  <c:v>915</c:v>
                </c:pt>
                <c:pt idx="420">
                  <c:v>916</c:v>
                </c:pt>
                <c:pt idx="421">
                  <c:v>918</c:v>
                </c:pt>
                <c:pt idx="422">
                  <c:v>919</c:v>
                </c:pt>
                <c:pt idx="423">
                  <c:v>920</c:v>
                </c:pt>
                <c:pt idx="424">
                  <c:v>921</c:v>
                </c:pt>
                <c:pt idx="425">
                  <c:v>923</c:v>
                </c:pt>
                <c:pt idx="426">
                  <c:v>925</c:v>
                </c:pt>
                <c:pt idx="427">
                  <c:v>927</c:v>
                </c:pt>
                <c:pt idx="428">
                  <c:v>929</c:v>
                </c:pt>
                <c:pt idx="429">
                  <c:v>933</c:v>
                </c:pt>
                <c:pt idx="430">
                  <c:v>936</c:v>
                </c:pt>
                <c:pt idx="431">
                  <c:v>994</c:v>
                </c:pt>
                <c:pt idx="432">
                  <c:v>1008</c:v>
                </c:pt>
                <c:pt idx="433">
                  <c:v>1013</c:v>
                </c:pt>
                <c:pt idx="434">
                  <c:v>1018</c:v>
                </c:pt>
                <c:pt idx="435">
                  <c:v>1021</c:v>
                </c:pt>
                <c:pt idx="436">
                  <c:v>1024</c:v>
                </c:pt>
                <c:pt idx="437">
                  <c:v>1026</c:v>
                </c:pt>
                <c:pt idx="438">
                  <c:v>1028</c:v>
                </c:pt>
                <c:pt idx="439">
                  <c:v>1030</c:v>
                </c:pt>
                <c:pt idx="440">
                  <c:v>1032</c:v>
                </c:pt>
                <c:pt idx="441">
                  <c:v>1033</c:v>
                </c:pt>
                <c:pt idx="442">
                  <c:v>1035</c:v>
                </c:pt>
                <c:pt idx="443">
                  <c:v>1036</c:v>
                </c:pt>
                <c:pt idx="444">
                  <c:v>1037</c:v>
                </c:pt>
                <c:pt idx="445">
                  <c:v>1038</c:v>
                </c:pt>
                <c:pt idx="446">
                  <c:v>1039</c:v>
                </c:pt>
                <c:pt idx="447">
                  <c:v>1040</c:v>
                </c:pt>
                <c:pt idx="448">
                  <c:v>1041</c:v>
                </c:pt>
                <c:pt idx="449">
                  <c:v>1042</c:v>
                </c:pt>
                <c:pt idx="450">
                  <c:v>1044</c:v>
                </c:pt>
                <c:pt idx="451">
                  <c:v>1045</c:v>
                </c:pt>
                <c:pt idx="452">
                  <c:v>1047</c:v>
                </c:pt>
                <c:pt idx="453">
                  <c:v>1049</c:v>
                </c:pt>
                <c:pt idx="454">
                  <c:v>1051</c:v>
                </c:pt>
                <c:pt idx="455">
                  <c:v>1054</c:v>
                </c:pt>
                <c:pt idx="456">
                  <c:v>1057</c:v>
                </c:pt>
                <c:pt idx="457">
                  <c:v>1060</c:v>
                </c:pt>
                <c:pt idx="458">
                  <c:v>1062</c:v>
                </c:pt>
                <c:pt idx="459">
                  <c:v>1064</c:v>
                </c:pt>
                <c:pt idx="460">
                  <c:v>1065</c:v>
                </c:pt>
                <c:pt idx="461">
                  <c:v>1066</c:v>
                </c:pt>
                <c:pt idx="462">
                  <c:v>1067</c:v>
                </c:pt>
                <c:pt idx="463">
                  <c:v>1068</c:v>
                </c:pt>
                <c:pt idx="464">
                  <c:v>1069</c:v>
                </c:pt>
                <c:pt idx="465">
                  <c:v>1069</c:v>
                </c:pt>
                <c:pt idx="466">
                  <c:v>1071</c:v>
                </c:pt>
                <c:pt idx="467">
                  <c:v>1072</c:v>
                </c:pt>
                <c:pt idx="468">
                  <c:v>1072</c:v>
                </c:pt>
                <c:pt idx="469">
                  <c:v>1073</c:v>
                </c:pt>
                <c:pt idx="470">
                  <c:v>1075</c:v>
                </c:pt>
                <c:pt idx="471">
                  <c:v>1075</c:v>
                </c:pt>
                <c:pt idx="472">
                  <c:v>1076</c:v>
                </c:pt>
                <c:pt idx="473">
                  <c:v>1077</c:v>
                </c:pt>
                <c:pt idx="474">
                  <c:v>1078</c:v>
                </c:pt>
                <c:pt idx="475">
                  <c:v>1080</c:v>
                </c:pt>
                <c:pt idx="476">
                  <c:v>1082</c:v>
                </c:pt>
                <c:pt idx="477">
                  <c:v>1085</c:v>
                </c:pt>
                <c:pt idx="478">
                  <c:v>1088</c:v>
                </c:pt>
                <c:pt idx="479">
                  <c:v>1090</c:v>
                </c:pt>
                <c:pt idx="480">
                  <c:v>1094</c:v>
                </c:pt>
                <c:pt idx="481">
                  <c:v>1098</c:v>
                </c:pt>
                <c:pt idx="482">
                  <c:v>1099</c:v>
                </c:pt>
                <c:pt idx="483">
                  <c:v>1103</c:v>
                </c:pt>
                <c:pt idx="484">
                  <c:v>1105</c:v>
                </c:pt>
                <c:pt idx="485">
                  <c:v>1107</c:v>
                </c:pt>
                <c:pt idx="486">
                  <c:v>1109</c:v>
                </c:pt>
                <c:pt idx="487">
                  <c:v>1110</c:v>
                </c:pt>
                <c:pt idx="488">
                  <c:v>1111</c:v>
                </c:pt>
                <c:pt idx="489">
                  <c:v>1112</c:v>
                </c:pt>
                <c:pt idx="490">
                  <c:v>1113</c:v>
                </c:pt>
                <c:pt idx="491">
                  <c:v>1115</c:v>
                </c:pt>
                <c:pt idx="492">
                  <c:v>1116</c:v>
                </c:pt>
                <c:pt idx="493">
                  <c:v>1117</c:v>
                </c:pt>
                <c:pt idx="494">
                  <c:v>1119</c:v>
                </c:pt>
                <c:pt idx="495">
                  <c:v>1120</c:v>
                </c:pt>
                <c:pt idx="496">
                  <c:v>1121</c:v>
                </c:pt>
                <c:pt idx="497">
                  <c:v>1123</c:v>
                </c:pt>
                <c:pt idx="498">
                  <c:v>1125</c:v>
                </c:pt>
                <c:pt idx="499">
                  <c:v>1129</c:v>
                </c:pt>
                <c:pt idx="500">
                  <c:v>1131</c:v>
                </c:pt>
                <c:pt idx="501">
                  <c:v>1132</c:v>
                </c:pt>
                <c:pt idx="502">
                  <c:v>1135</c:v>
                </c:pt>
                <c:pt idx="503">
                  <c:v>1138</c:v>
                </c:pt>
                <c:pt idx="504">
                  <c:v>1181</c:v>
                </c:pt>
                <c:pt idx="505">
                  <c:v>1188</c:v>
                </c:pt>
                <c:pt idx="506">
                  <c:v>1193</c:v>
                </c:pt>
                <c:pt idx="507">
                  <c:v>1197</c:v>
                </c:pt>
                <c:pt idx="508">
                  <c:v>1200</c:v>
                </c:pt>
                <c:pt idx="509">
                  <c:v>1202</c:v>
                </c:pt>
                <c:pt idx="510">
                  <c:v>1205</c:v>
                </c:pt>
                <c:pt idx="511">
                  <c:v>1208</c:v>
                </c:pt>
                <c:pt idx="512">
                  <c:v>1209</c:v>
                </c:pt>
                <c:pt idx="513">
                  <c:v>1211</c:v>
                </c:pt>
                <c:pt idx="514">
                  <c:v>1213</c:v>
                </c:pt>
                <c:pt idx="515">
                  <c:v>1214</c:v>
                </c:pt>
                <c:pt idx="516">
                  <c:v>1216</c:v>
                </c:pt>
                <c:pt idx="517">
                  <c:v>1217</c:v>
                </c:pt>
                <c:pt idx="518">
                  <c:v>1218</c:v>
                </c:pt>
                <c:pt idx="519">
                  <c:v>1219</c:v>
                </c:pt>
                <c:pt idx="520">
                  <c:v>1220</c:v>
                </c:pt>
                <c:pt idx="521">
                  <c:v>1222</c:v>
                </c:pt>
                <c:pt idx="522">
                  <c:v>1223</c:v>
                </c:pt>
                <c:pt idx="523">
                  <c:v>1225</c:v>
                </c:pt>
                <c:pt idx="524">
                  <c:v>1225</c:v>
                </c:pt>
                <c:pt idx="525">
                  <c:v>1228</c:v>
                </c:pt>
                <c:pt idx="526">
                  <c:v>1230</c:v>
                </c:pt>
                <c:pt idx="527">
                  <c:v>1233</c:v>
                </c:pt>
                <c:pt idx="528">
                  <c:v>1236</c:v>
                </c:pt>
                <c:pt idx="529">
                  <c:v>1239</c:v>
                </c:pt>
                <c:pt idx="530">
                  <c:v>1241</c:v>
                </c:pt>
                <c:pt idx="531">
                  <c:v>1243</c:v>
                </c:pt>
                <c:pt idx="532">
                  <c:v>1244</c:v>
                </c:pt>
                <c:pt idx="533">
                  <c:v>1246</c:v>
                </c:pt>
                <c:pt idx="534">
                  <c:v>1247</c:v>
                </c:pt>
                <c:pt idx="535">
                  <c:v>1248</c:v>
                </c:pt>
                <c:pt idx="536">
                  <c:v>1249</c:v>
                </c:pt>
                <c:pt idx="537">
                  <c:v>1250</c:v>
                </c:pt>
                <c:pt idx="538">
                  <c:v>1251</c:v>
                </c:pt>
                <c:pt idx="539">
                  <c:v>1253</c:v>
                </c:pt>
                <c:pt idx="540">
                  <c:v>1254</c:v>
                </c:pt>
                <c:pt idx="541">
                  <c:v>1255</c:v>
                </c:pt>
                <c:pt idx="542">
                  <c:v>1255</c:v>
                </c:pt>
                <c:pt idx="543">
                  <c:v>1257</c:v>
                </c:pt>
                <c:pt idx="544">
                  <c:v>1258</c:v>
                </c:pt>
                <c:pt idx="545">
                  <c:v>1259</c:v>
                </c:pt>
                <c:pt idx="546">
                  <c:v>1261</c:v>
                </c:pt>
                <c:pt idx="547">
                  <c:v>1263</c:v>
                </c:pt>
                <c:pt idx="548">
                  <c:v>1264</c:v>
                </c:pt>
                <c:pt idx="549">
                  <c:v>1267</c:v>
                </c:pt>
                <c:pt idx="550">
                  <c:v>1269</c:v>
                </c:pt>
                <c:pt idx="551">
                  <c:v>1271</c:v>
                </c:pt>
                <c:pt idx="552">
                  <c:v>1273</c:v>
                </c:pt>
                <c:pt idx="553">
                  <c:v>1276</c:v>
                </c:pt>
                <c:pt idx="554">
                  <c:v>1277</c:v>
                </c:pt>
                <c:pt idx="555">
                  <c:v>1280</c:v>
                </c:pt>
                <c:pt idx="556">
                  <c:v>1282</c:v>
                </c:pt>
                <c:pt idx="557">
                  <c:v>1283</c:v>
                </c:pt>
                <c:pt idx="558">
                  <c:v>1284</c:v>
                </c:pt>
                <c:pt idx="559">
                  <c:v>1286</c:v>
                </c:pt>
                <c:pt idx="560">
                  <c:v>1287</c:v>
                </c:pt>
                <c:pt idx="561">
                  <c:v>1289</c:v>
                </c:pt>
                <c:pt idx="562">
                  <c:v>1290</c:v>
                </c:pt>
                <c:pt idx="563">
                  <c:v>1291</c:v>
                </c:pt>
                <c:pt idx="564">
                  <c:v>1293</c:v>
                </c:pt>
                <c:pt idx="565">
                  <c:v>1295</c:v>
                </c:pt>
                <c:pt idx="566">
                  <c:v>1295</c:v>
                </c:pt>
                <c:pt idx="567">
                  <c:v>1296</c:v>
                </c:pt>
                <c:pt idx="568">
                  <c:v>1298</c:v>
                </c:pt>
                <c:pt idx="569">
                  <c:v>1300</c:v>
                </c:pt>
                <c:pt idx="570">
                  <c:v>1301</c:v>
                </c:pt>
                <c:pt idx="571">
                  <c:v>1304</c:v>
                </c:pt>
                <c:pt idx="572">
                  <c:v>1305</c:v>
                </c:pt>
                <c:pt idx="573">
                  <c:v>1309</c:v>
                </c:pt>
                <c:pt idx="574">
                  <c:v>1311</c:v>
                </c:pt>
                <c:pt idx="575">
                  <c:v>1314</c:v>
                </c:pt>
                <c:pt idx="576">
                  <c:v>1317</c:v>
                </c:pt>
                <c:pt idx="577">
                  <c:v>1320</c:v>
                </c:pt>
                <c:pt idx="578">
                  <c:v>1323</c:v>
                </c:pt>
                <c:pt idx="579">
                  <c:v>1325</c:v>
                </c:pt>
                <c:pt idx="580">
                  <c:v>1327</c:v>
                </c:pt>
                <c:pt idx="581">
                  <c:v>1328</c:v>
                </c:pt>
                <c:pt idx="582">
                  <c:v>1331</c:v>
                </c:pt>
                <c:pt idx="583">
                  <c:v>1331</c:v>
                </c:pt>
                <c:pt idx="584">
                  <c:v>1332</c:v>
                </c:pt>
                <c:pt idx="585">
                  <c:v>1334</c:v>
                </c:pt>
                <c:pt idx="586">
                  <c:v>1335</c:v>
                </c:pt>
                <c:pt idx="587">
                  <c:v>1337</c:v>
                </c:pt>
                <c:pt idx="588">
                  <c:v>1338</c:v>
                </c:pt>
                <c:pt idx="589">
                  <c:v>1340</c:v>
                </c:pt>
                <c:pt idx="590">
                  <c:v>1342</c:v>
                </c:pt>
                <c:pt idx="591">
                  <c:v>1342</c:v>
                </c:pt>
                <c:pt idx="592">
                  <c:v>1343</c:v>
                </c:pt>
                <c:pt idx="593">
                  <c:v>1345</c:v>
                </c:pt>
                <c:pt idx="594">
                  <c:v>1347</c:v>
                </c:pt>
                <c:pt idx="595">
                  <c:v>1350</c:v>
                </c:pt>
                <c:pt idx="596">
                  <c:v>1351</c:v>
                </c:pt>
                <c:pt idx="597">
                  <c:v>1353</c:v>
                </c:pt>
                <c:pt idx="598">
                  <c:v>1397</c:v>
                </c:pt>
                <c:pt idx="599">
                  <c:v>1406</c:v>
                </c:pt>
                <c:pt idx="600">
                  <c:v>1411</c:v>
                </c:pt>
                <c:pt idx="601">
                  <c:v>1416</c:v>
                </c:pt>
                <c:pt idx="602">
                  <c:v>1419</c:v>
                </c:pt>
                <c:pt idx="603">
                  <c:v>1421</c:v>
                </c:pt>
                <c:pt idx="604">
                  <c:v>1423</c:v>
                </c:pt>
                <c:pt idx="605">
                  <c:v>1425</c:v>
                </c:pt>
                <c:pt idx="606">
                  <c:v>1425</c:v>
                </c:pt>
                <c:pt idx="607">
                  <c:v>1426</c:v>
                </c:pt>
                <c:pt idx="608">
                  <c:v>1428</c:v>
                </c:pt>
                <c:pt idx="609">
                  <c:v>1428</c:v>
                </c:pt>
                <c:pt idx="610">
                  <c:v>1429</c:v>
                </c:pt>
                <c:pt idx="611">
                  <c:v>1431</c:v>
                </c:pt>
                <c:pt idx="612">
                  <c:v>1432</c:v>
                </c:pt>
                <c:pt idx="613">
                  <c:v>1433</c:v>
                </c:pt>
                <c:pt idx="614">
                  <c:v>1434</c:v>
                </c:pt>
                <c:pt idx="615">
                  <c:v>1435</c:v>
                </c:pt>
                <c:pt idx="616">
                  <c:v>1437</c:v>
                </c:pt>
                <c:pt idx="617">
                  <c:v>1439</c:v>
                </c:pt>
                <c:pt idx="618">
                  <c:v>1440</c:v>
                </c:pt>
                <c:pt idx="619">
                  <c:v>1442</c:v>
                </c:pt>
                <c:pt idx="620">
                  <c:v>1443</c:v>
                </c:pt>
                <c:pt idx="621">
                  <c:v>1445</c:v>
                </c:pt>
                <c:pt idx="622">
                  <c:v>1447</c:v>
                </c:pt>
                <c:pt idx="623">
                  <c:v>1450</c:v>
                </c:pt>
                <c:pt idx="624">
                  <c:v>1452</c:v>
                </c:pt>
                <c:pt idx="625">
                  <c:v>1454</c:v>
                </c:pt>
                <c:pt idx="626">
                  <c:v>1456</c:v>
                </c:pt>
                <c:pt idx="627">
                  <c:v>1458</c:v>
                </c:pt>
                <c:pt idx="628">
                  <c:v>1459</c:v>
                </c:pt>
                <c:pt idx="629">
                  <c:v>1461</c:v>
                </c:pt>
                <c:pt idx="630">
                  <c:v>1462</c:v>
                </c:pt>
                <c:pt idx="631">
                  <c:v>1463</c:v>
                </c:pt>
                <c:pt idx="632">
                  <c:v>1464</c:v>
                </c:pt>
                <c:pt idx="633">
                  <c:v>1465</c:v>
                </c:pt>
                <c:pt idx="634">
                  <c:v>1466</c:v>
                </c:pt>
                <c:pt idx="635">
                  <c:v>1468</c:v>
                </c:pt>
                <c:pt idx="636">
                  <c:v>1469</c:v>
                </c:pt>
                <c:pt idx="637">
                  <c:v>1470</c:v>
                </c:pt>
                <c:pt idx="638">
                  <c:v>1472</c:v>
                </c:pt>
                <c:pt idx="639">
                  <c:v>1473</c:v>
                </c:pt>
                <c:pt idx="640">
                  <c:v>1475</c:v>
                </c:pt>
                <c:pt idx="641">
                  <c:v>1476</c:v>
                </c:pt>
                <c:pt idx="642">
                  <c:v>1477</c:v>
                </c:pt>
                <c:pt idx="643">
                  <c:v>1479</c:v>
                </c:pt>
                <c:pt idx="644">
                  <c:v>1480</c:v>
                </c:pt>
                <c:pt idx="645">
                  <c:v>1482</c:v>
                </c:pt>
                <c:pt idx="646">
                  <c:v>1484</c:v>
                </c:pt>
                <c:pt idx="647">
                  <c:v>1482</c:v>
                </c:pt>
                <c:pt idx="648">
                  <c:v>1484</c:v>
                </c:pt>
                <c:pt idx="649">
                  <c:v>1486</c:v>
                </c:pt>
                <c:pt idx="650">
                  <c:v>1489</c:v>
                </c:pt>
                <c:pt idx="651">
                  <c:v>1491</c:v>
                </c:pt>
                <c:pt idx="652">
                  <c:v>1493</c:v>
                </c:pt>
                <c:pt idx="653">
                  <c:v>1495</c:v>
                </c:pt>
                <c:pt idx="654">
                  <c:v>1496</c:v>
                </c:pt>
                <c:pt idx="655">
                  <c:v>1497</c:v>
                </c:pt>
                <c:pt idx="656">
                  <c:v>1499</c:v>
                </c:pt>
                <c:pt idx="657">
                  <c:v>1500</c:v>
                </c:pt>
                <c:pt idx="658">
                  <c:v>1501</c:v>
                </c:pt>
                <c:pt idx="659">
                  <c:v>1503</c:v>
                </c:pt>
                <c:pt idx="660">
                  <c:v>1505</c:v>
                </c:pt>
                <c:pt idx="661">
                  <c:v>1505</c:v>
                </c:pt>
                <c:pt idx="662">
                  <c:v>1507</c:v>
                </c:pt>
                <c:pt idx="663">
                  <c:v>1509</c:v>
                </c:pt>
                <c:pt idx="664">
                  <c:v>1510</c:v>
                </c:pt>
                <c:pt idx="665">
                  <c:v>1512</c:v>
                </c:pt>
                <c:pt idx="666">
                  <c:v>1514</c:v>
                </c:pt>
                <c:pt idx="667">
                  <c:v>1516</c:v>
                </c:pt>
                <c:pt idx="668">
                  <c:v>1518</c:v>
                </c:pt>
                <c:pt idx="669">
                  <c:v>1520</c:v>
                </c:pt>
                <c:pt idx="670">
                  <c:v>15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C8B-524C-A18C-3E93F3A5EAEB}"/>
            </c:ext>
          </c:extLst>
        </c:ser>
        <c:ser>
          <c:idx val="1"/>
          <c:order val="1"/>
          <c:tx>
            <c:v>11</c:v>
          </c:tx>
          <c:spPr>
            <a:ln w="3492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11 Gülle gesiebt'!$E$20:$E$691</c:f>
              <c:numCache>
                <c:formatCode>0</c:formatCode>
                <c:ptCount val="672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  <c:pt idx="668">
                  <c:v>27.833333333333332</c:v>
                </c:pt>
                <c:pt idx="669">
                  <c:v>27.875</c:v>
                </c:pt>
                <c:pt idx="670">
                  <c:v>27.916666666666668</c:v>
                </c:pt>
                <c:pt idx="671">
                  <c:v>27.958333333333332</c:v>
                </c:pt>
              </c:numCache>
            </c:numRef>
          </c:xVal>
          <c:yVal>
            <c:numRef>
              <c:f>'11 Gülle gesiebt'!$D$20:$D$691</c:f>
              <c:numCache>
                <c:formatCode>General</c:formatCode>
                <c:ptCount val="672"/>
                <c:pt idx="0">
                  <c:v>0</c:v>
                </c:pt>
                <c:pt idx="1">
                  <c:v>14</c:v>
                </c:pt>
                <c:pt idx="2">
                  <c:v>16</c:v>
                </c:pt>
                <c:pt idx="3">
                  <c:v>18</c:v>
                </c:pt>
                <c:pt idx="4">
                  <c:v>19</c:v>
                </c:pt>
                <c:pt idx="5">
                  <c:v>18</c:v>
                </c:pt>
                <c:pt idx="6">
                  <c:v>20</c:v>
                </c:pt>
                <c:pt idx="7">
                  <c:v>19</c:v>
                </c:pt>
                <c:pt idx="8">
                  <c:v>19</c:v>
                </c:pt>
                <c:pt idx="9">
                  <c:v>17</c:v>
                </c:pt>
                <c:pt idx="10">
                  <c:v>16</c:v>
                </c:pt>
                <c:pt idx="11">
                  <c:v>16</c:v>
                </c:pt>
                <c:pt idx="12">
                  <c:v>16</c:v>
                </c:pt>
                <c:pt idx="13">
                  <c:v>14</c:v>
                </c:pt>
                <c:pt idx="14">
                  <c:v>13</c:v>
                </c:pt>
                <c:pt idx="15">
                  <c:v>12</c:v>
                </c:pt>
                <c:pt idx="16">
                  <c:v>11</c:v>
                </c:pt>
                <c:pt idx="17">
                  <c:v>1</c:v>
                </c:pt>
                <c:pt idx="18">
                  <c:v>2</c:v>
                </c:pt>
                <c:pt idx="19">
                  <c:v>5</c:v>
                </c:pt>
                <c:pt idx="20">
                  <c:v>7</c:v>
                </c:pt>
                <c:pt idx="21">
                  <c:v>7</c:v>
                </c:pt>
                <c:pt idx="22">
                  <c:v>9</c:v>
                </c:pt>
                <c:pt idx="23">
                  <c:v>11</c:v>
                </c:pt>
                <c:pt idx="24">
                  <c:v>12</c:v>
                </c:pt>
                <c:pt idx="25">
                  <c:v>14</c:v>
                </c:pt>
                <c:pt idx="26">
                  <c:v>0</c:v>
                </c:pt>
                <c:pt idx="27">
                  <c:v>8</c:v>
                </c:pt>
                <c:pt idx="28">
                  <c:v>14</c:v>
                </c:pt>
                <c:pt idx="29">
                  <c:v>17</c:v>
                </c:pt>
                <c:pt idx="30">
                  <c:v>19</c:v>
                </c:pt>
                <c:pt idx="31">
                  <c:v>21</c:v>
                </c:pt>
                <c:pt idx="32">
                  <c:v>22</c:v>
                </c:pt>
                <c:pt idx="33">
                  <c:v>23</c:v>
                </c:pt>
                <c:pt idx="34">
                  <c:v>23</c:v>
                </c:pt>
                <c:pt idx="35">
                  <c:v>24</c:v>
                </c:pt>
                <c:pt idx="36">
                  <c:v>24</c:v>
                </c:pt>
                <c:pt idx="37">
                  <c:v>25</c:v>
                </c:pt>
                <c:pt idx="38">
                  <c:v>24</c:v>
                </c:pt>
                <c:pt idx="39">
                  <c:v>25</c:v>
                </c:pt>
                <c:pt idx="40">
                  <c:v>25</c:v>
                </c:pt>
                <c:pt idx="41">
                  <c:v>24</c:v>
                </c:pt>
                <c:pt idx="42">
                  <c:v>23</c:v>
                </c:pt>
                <c:pt idx="43">
                  <c:v>23</c:v>
                </c:pt>
                <c:pt idx="44">
                  <c:v>25</c:v>
                </c:pt>
                <c:pt idx="45">
                  <c:v>24</c:v>
                </c:pt>
                <c:pt idx="46">
                  <c:v>27</c:v>
                </c:pt>
                <c:pt idx="47">
                  <c:v>30</c:v>
                </c:pt>
                <c:pt idx="48">
                  <c:v>26</c:v>
                </c:pt>
                <c:pt idx="49">
                  <c:v>27</c:v>
                </c:pt>
                <c:pt idx="50">
                  <c:v>29</c:v>
                </c:pt>
                <c:pt idx="51">
                  <c:v>31</c:v>
                </c:pt>
                <c:pt idx="52">
                  <c:v>33</c:v>
                </c:pt>
                <c:pt idx="53">
                  <c:v>35</c:v>
                </c:pt>
                <c:pt idx="54">
                  <c:v>36</c:v>
                </c:pt>
                <c:pt idx="55">
                  <c:v>36</c:v>
                </c:pt>
                <c:pt idx="56">
                  <c:v>37</c:v>
                </c:pt>
                <c:pt idx="57">
                  <c:v>37</c:v>
                </c:pt>
                <c:pt idx="58">
                  <c:v>37</c:v>
                </c:pt>
                <c:pt idx="59">
                  <c:v>38</c:v>
                </c:pt>
                <c:pt idx="60">
                  <c:v>37</c:v>
                </c:pt>
                <c:pt idx="61">
                  <c:v>39</c:v>
                </c:pt>
                <c:pt idx="62">
                  <c:v>39</c:v>
                </c:pt>
                <c:pt idx="63">
                  <c:v>39</c:v>
                </c:pt>
                <c:pt idx="64">
                  <c:v>39</c:v>
                </c:pt>
                <c:pt idx="65">
                  <c:v>39</c:v>
                </c:pt>
                <c:pt idx="66">
                  <c:v>39</c:v>
                </c:pt>
                <c:pt idx="67">
                  <c:v>40</c:v>
                </c:pt>
                <c:pt idx="68">
                  <c:v>40</c:v>
                </c:pt>
                <c:pt idx="69">
                  <c:v>40</c:v>
                </c:pt>
                <c:pt idx="70">
                  <c:v>40</c:v>
                </c:pt>
                <c:pt idx="71">
                  <c:v>40</c:v>
                </c:pt>
                <c:pt idx="72">
                  <c:v>42</c:v>
                </c:pt>
                <c:pt idx="73">
                  <c:v>43</c:v>
                </c:pt>
                <c:pt idx="74">
                  <c:v>45</c:v>
                </c:pt>
                <c:pt idx="75">
                  <c:v>46</c:v>
                </c:pt>
                <c:pt idx="76">
                  <c:v>45</c:v>
                </c:pt>
                <c:pt idx="77">
                  <c:v>45</c:v>
                </c:pt>
                <c:pt idx="78">
                  <c:v>44</c:v>
                </c:pt>
                <c:pt idx="79">
                  <c:v>43</c:v>
                </c:pt>
                <c:pt idx="80">
                  <c:v>43</c:v>
                </c:pt>
                <c:pt idx="81">
                  <c:v>43</c:v>
                </c:pt>
                <c:pt idx="82">
                  <c:v>42</c:v>
                </c:pt>
                <c:pt idx="83">
                  <c:v>42</c:v>
                </c:pt>
                <c:pt idx="84">
                  <c:v>42</c:v>
                </c:pt>
                <c:pt idx="85">
                  <c:v>42</c:v>
                </c:pt>
                <c:pt idx="86">
                  <c:v>42</c:v>
                </c:pt>
                <c:pt idx="87">
                  <c:v>42</c:v>
                </c:pt>
                <c:pt idx="88">
                  <c:v>42</c:v>
                </c:pt>
                <c:pt idx="89">
                  <c:v>42</c:v>
                </c:pt>
                <c:pt idx="90">
                  <c:v>35</c:v>
                </c:pt>
                <c:pt idx="91">
                  <c:v>30</c:v>
                </c:pt>
                <c:pt idx="92">
                  <c:v>27</c:v>
                </c:pt>
                <c:pt idx="93">
                  <c:v>27</c:v>
                </c:pt>
                <c:pt idx="94">
                  <c:v>28</c:v>
                </c:pt>
                <c:pt idx="95">
                  <c:v>27</c:v>
                </c:pt>
                <c:pt idx="96">
                  <c:v>30</c:v>
                </c:pt>
                <c:pt idx="97">
                  <c:v>35</c:v>
                </c:pt>
                <c:pt idx="98">
                  <c:v>39</c:v>
                </c:pt>
                <c:pt idx="99">
                  <c:v>43</c:v>
                </c:pt>
                <c:pt idx="100">
                  <c:v>45</c:v>
                </c:pt>
                <c:pt idx="101">
                  <c:v>47</c:v>
                </c:pt>
                <c:pt idx="102">
                  <c:v>48</c:v>
                </c:pt>
                <c:pt idx="103">
                  <c:v>49</c:v>
                </c:pt>
                <c:pt idx="104">
                  <c:v>49</c:v>
                </c:pt>
                <c:pt idx="105">
                  <c:v>50</c:v>
                </c:pt>
                <c:pt idx="106">
                  <c:v>51</c:v>
                </c:pt>
                <c:pt idx="107">
                  <c:v>51</c:v>
                </c:pt>
                <c:pt idx="108">
                  <c:v>51</c:v>
                </c:pt>
                <c:pt idx="109">
                  <c:v>51</c:v>
                </c:pt>
                <c:pt idx="110">
                  <c:v>51</c:v>
                </c:pt>
                <c:pt idx="111">
                  <c:v>52</c:v>
                </c:pt>
                <c:pt idx="112">
                  <c:v>52</c:v>
                </c:pt>
                <c:pt idx="113">
                  <c:v>53</c:v>
                </c:pt>
                <c:pt idx="114">
                  <c:v>54</c:v>
                </c:pt>
                <c:pt idx="115">
                  <c:v>54</c:v>
                </c:pt>
                <c:pt idx="116">
                  <c:v>56</c:v>
                </c:pt>
                <c:pt idx="117">
                  <c:v>58</c:v>
                </c:pt>
                <c:pt idx="118">
                  <c:v>59</c:v>
                </c:pt>
                <c:pt idx="119">
                  <c:v>60</c:v>
                </c:pt>
                <c:pt idx="120">
                  <c:v>62</c:v>
                </c:pt>
                <c:pt idx="121">
                  <c:v>65</c:v>
                </c:pt>
                <c:pt idx="122">
                  <c:v>68</c:v>
                </c:pt>
                <c:pt idx="123">
                  <c:v>70</c:v>
                </c:pt>
                <c:pt idx="124">
                  <c:v>71</c:v>
                </c:pt>
                <c:pt idx="125">
                  <c:v>71</c:v>
                </c:pt>
                <c:pt idx="126">
                  <c:v>71</c:v>
                </c:pt>
                <c:pt idx="127">
                  <c:v>72</c:v>
                </c:pt>
                <c:pt idx="128">
                  <c:v>72</c:v>
                </c:pt>
                <c:pt idx="129">
                  <c:v>72</c:v>
                </c:pt>
                <c:pt idx="130">
                  <c:v>72</c:v>
                </c:pt>
                <c:pt idx="131">
                  <c:v>72</c:v>
                </c:pt>
                <c:pt idx="132">
                  <c:v>72</c:v>
                </c:pt>
                <c:pt idx="133">
                  <c:v>73</c:v>
                </c:pt>
                <c:pt idx="134">
                  <c:v>73</c:v>
                </c:pt>
                <c:pt idx="135">
                  <c:v>74</c:v>
                </c:pt>
                <c:pt idx="136">
                  <c:v>74</c:v>
                </c:pt>
                <c:pt idx="137">
                  <c:v>75</c:v>
                </c:pt>
                <c:pt idx="138">
                  <c:v>76</c:v>
                </c:pt>
                <c:pt idx="139">
                  <c:v>78</c:v>
                </c:pt>
                <c:pt idx="140">
                  <c:v>80</c:v>
                </c:pt>
                <c:pt idx="141">
                  <c:v>82</c:v>
                </c:pt>
                <c:pt idx="142">
                  <c:v>84</c:v>
                </c:pt>
                <c:pt idx="143">
                  <c:v>87</c:v>
                </c:pt>
                <c:pt idx="144">
                  <c:v>90</c:v>
                </c:pt>
                <c:pt idx="145">
                  <c:v>92</c:v>
                </c:pt>
                <c:pt idx="146">
                  <c:v>96</c:v>
                </c:pt>
                <c:pt idx="147">
                  <c:v>98</c:v>
                </c:pt>
                <c:pt idx="148">
                  <c:v>98</c:v>
                </c:pt>
                <c:pt idx="149">
                  <c:v>99</c:v>
                </c:pt>
                <c:pt idx="150">
                  <c:v>99</c:v>
                </c:pt>
                <c:pt idx="151">
                  <c:v>99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1</c:v>
                </c:pt>
                <c:pt idx="158">
                  <c:v>102</c:v>
                </c:pt>
                <c:pt idx="159">
                  <c:v>102</c:v>
                </c:pt>
                <c:pt idx="160">
                  <c:v>103</c:v>
                </c:pt>
                <c:pt idx="161">
                  <c:v>104</c:v>
                </c:pt>
                <c:pt idx="162">
                  <c:v>105</c:v>
                </c:pt>
                <c:pt idx="163">
                  <c:v>106</c:v>
                </c:pt>
                <c:pt idx="164">
                  <c:v>108</c:v>
                </c:pt>
                <c:pt idx="165">
                  <c:v>112</c:v>
                </c:pt>
                <c:pt idx="166">
                  <c:v>114</c:v>
                </c:pt>
                <c:pt idx="167">
                  <c:v>116</c:v>
                </c:pt>
                <c:pt idx="168">
                  <c:v>119</c:v>
                </c:pt>
                <c:pt idx="169">
                  <c:v>116</c:v>
                </c:pt>
                <c:pt idx="170">
                  <c:v>118</c:v>
                </c:pt>
                <c:pt idx="171">
                  <c:v>122</c:v>
                </c:pt>
                <c:pt idx="172">
                  <c:v>125</c:v>
                </c:pt>
                <c:pt idx="173">
                  <c:v>128</c:v>
                </c:pt>
                <c:pt idx="174">
                  <c:v>130</c:v>
                </c:pt>
                <c:pt idx="175">
                  <c:v>130</c:v>
                </c:pt>
                <c:pt idx="176">
                  <c:v>132</c:v>
                </c:pt>
                <c:pt idx="177">
                  <c:v>133</c:v>
                </c:pt>
                <c:pt idx="178">
                  <c:v>133</c:v>
                </c:pt>
                <c:pt idx="179">
                  <c:v>134</c:v>
                </c:pt>
                <c:pt idx="180">
                  <c:v>134</c:v>
                </c:pt>
                <c:pt idx="181">
                  <c:v>134</c:v>
                </c:pt>
                <c:pt idx="182">
                  <c:v>135</c:v>
                </c:pt>
                <c:pt idx="183">
                  <c:v>135</c:v>
                </c:pt>
                <c:pt idx="184">
                  <c:v>136</c:v>
                </c:pt>
                <c:pt idx="185">
                  <c:v>137</c:v>
                </c:pt>
                <c:pt idx="186">
                  <c:v>137</c:v>
                </c:pt>
                <c:pt idx="187">
                  <c:v>134</c:v>
                </c:pt>
                <c:pt idx="188">
                  <c:v>138</c:v>
                </c:pt>
                <c:pt idx="189">
                  <c:v>143</c:v>
                </c:pt>
                <c:pt idx="190">
                  <c:v>147</c:v>
                </c:pt>
                <c:pt idx="191">
                  <c:v>167</c:v>
                </c:pt>
                <c:pt idx="192">
                  <c:v>173</c:v>
                </c:pt>
                <c:pt idx="193">
                  <c:v>178</c:v>
                </c:pt>
                <c:pt idx="194">
                  <c:v>182</c:v>
                </c:pt>
                <c:pt idx="195">
                  <c:v>185</c:v>
                </c:pt>
                <c:pt idx="196">
                  <c:v>187</c:v>
                </c:pt>
                <c:pt idx="197">
                  <c:v>188</c:v>
                </c:pt>
                <c:pt idx="198">
                  <c:v>190</c:v>
                </c:pt>
                <c:pt idx="199">
                  <c:v>192</c:v>
                </c:pt>
                <c:pt idx="200">
                  <c:v>194</c:v>
                </c:pt>
                <c:pt idx="201">
                  <c:v>196</c:v>
                </c:pt>
                <c:pt idx="202">
                  <c:v>198</c:v>
                </c:pt>
                <c:pt idx="203">
                  <c:v>199</c:v>
                </c:pt>
                <c:pt idx="204">
                  <c:v>201</c:v>
                </c:pt>
                <c:pt idx="205">
                  <c:v>202</c:v>
                </c:pt>
                <c:pt idx="206">
                  <c:v>203</c:v>
                </c:pt>
                <c:pt idx="207">
                  <c:v>204</c:v>
                </c:pt>
                <c:pt idx="208">
                  <c:v>204</c:v>
                </c:pt>
                <c:pt idx="209">
                  <c:v>205</c:v>
                </c:pt>
                <c:pt idx="210">
                  <c:v>206</c:v>
                </c:pt>
                <c:pt idx="211">
                  <c:v>201</c:v>
                </c:pt>
                <c:pt idx="212">
                  <c:v>204</c:v>
                </c:pt>
                <c:pt idx="213">
                  <c:v>210</c:v>
                </c:pt>
                <c:pt idx="214">
                  <c:v>213</c:v>
                </c:pt>
                <c:pt idx="215">
                  <c:v>216</c:v>
                </c:pt>
                <c:pt idx="216">
                  <c:v>220</c:v>
                </c:pt>
                <c:pt idx="217">
                  <c:v>224</c:v>
                </c:pt>
                <c:pt idx="218">
                  <c:v>226</c:v>
                </c:pt>
                <c:pt idx="219">
                  <c:v>228</c:v>
                </c:pt>
                <c:pt idx="220">
                  <c:v>228</c:v>
                </c:pt>
                <c:pt idx="221">
                  <c:v>230</c:v>
                </c:pt>
                <c:pt idx="222">
                  <c:v>229</c:v>
                </c:pt>
                <c:pt idx="223">
                  <c:v>231</c:v>
                </c:pt>
                <c:pt idx="224">
                  <c:v>231</c:v>
                </c:pt>
                <c:pt idx="225">
                  <c:v>231</c:v>
                </c:pt>
                <c:pt idx="226">
                  <c:v>232</c:v>
                </c:pt>
                <c:pt idx="227">
                  <c:v>233</c:v>
                </c:pt>
                <c:pt idx="228">
                  <c:v>233</c:v>
                </c:pt>
                <c:pt idx="229">
                  <c:v>234</c:v>
                </c:pt>
                <c:pt idx="230">
                  <c:v>234</c:v>
                </c:pt>
                <c:pt idx="231">
                  <c:v>235</c:v>
                </c:pt>
                <c:pt idx="232">
                  <c:v>235</c:v>
                </c:pt>
                <c:pt idx="233">
                  <c:v>235</c:v>
                </c:pt>
                <c:pt idx="234">
                  <c:v>237</c:v>
                </c:pt>
                <c:pt idx="235">
                  <c:v>236</c:v>
                </c:pt>
                <c:pt idx="236">
                  <c:v>233</c:v>
                </c:pt>
                <c:pt idx="237">
                  <c:v>235</c:v>
                </c:pt>
                <c:pt idx="238">
                  <c:v>237</c:v>
                </c:pt>
                <c:pt idx="239">
                  <c:v>240</c:v>
                </c:pt>
                <c:pt idx="240">
                  <c:v>242</c:v>
                </c:pt>
                <c:pt idx="241">
                  <c:v>245</c:v>
                </c:pt>
                <c:pt idx="242">
                  <c:v>247</c:v>
                </c:pt>
                <c:pt idx="243">
                  <c:v>247</c:v>
                </c:pt>
                <c:pt idx="244">
                  <c:v>247</c:v>
                </c:pt>
                <c:pt idx="245">
                  <c:v>249</c:v>
                </c:pt>
                <c:pt idx="246">
                  <c:v>248</c:v>
                </c:pt>
                <c:pt idx="247">
                  <c:v>249</c:v>
                </c:pt>
                <c:pt idx="248">
                  <c:v>249</c:v>
                </c:pt>
                <c:pt idx="249">
                  <c:v>248</c:v>
                </c:pt>
                <c:pt idx="250">
                  <c:v>248</c:v>
                </c:pt>
                <c:pt idx="251">
                  <c:v>247</c:v>
                </c:pt>
                <c:pt idx="252">
                  <c:v>247</c:v>
                </c:pt>
                <c:pt idx="253">
                  <c:v>247</c:v>
                </c:pt>
                <c:pt idx="254">
                  <c:v>247</c:v>
                </c:pt>
                <c:pt idx="255">
                  <c:v>246</c:v>
                </c:pt>
                <c:pt idx="256">
                  <c:v>248</c:v>
                </c:pt>
                <c:pt idx="257">
                  <c:v>248</c:v>
                </c:pt>
                <c:pt idx="258">
                  <c:v>250</c:v>
                </c:pt>
                <c:pt idx="259">
                  <c:v>252</c:v>
                </c:pt>
                <c:pt idx="260">
                  <c:v>254</c:v>
                </c:pt>
                <c:pt idx="261">
                  <c:v>256</c:v>
                </c:pt>
                <c:pt idx="262">
                  <c:v>269</c:v>
                </c:pt>
                <c:pt idx="263">
                  <c:v>271</c:v>
                </c:pt>
                <c:pt idx="264">
                  <c:v>273</c:v>
                </c:pt>
                <c:pt idx="265">
                  <c:v>273</c:v>
                </c:pt>
                <c:pt idx="266">
                  <c:v>276</c:v>
                </c:pt>
                <c:pt idx="267">
                  <c:v>278</c:v>
                </c:pt>
                <c:pt idx="268">
                  <c:v>281</c:v>
                </c:pt>
                <c:pt idx="269">
                  <c:v>285</c:v>
                </c:pt>
                <c:pt idx="270">
                  <c:v>288</c:v>
                </c:pt>
                <c:pt idx="271">
                  <c:v>290</c:v>
                </c:pt>
                <c:pt idx="272">
                  <c:v>292</c:v>
                </c:pt>
                <c:pt idx="273">
                  <c:v>294</c:v>
                </c:pt>
                <c:pt idx="274">
                  <c:v>295</c:v>
                </c:pt>
                <c:pt idx="275">
                  <c:v>297</c:v>
                </c:pt>
                <c:pt idx="276">
                  <c:v>298</c:v>
                </c:pt>
                <c:pt idx="277">
                  <c:v>298</c:v>
                </c:pt>
                <c:pt idx="278">
                  <c:v>300</c:v>
                </c:pt>
                <c:pt idx="279">
                  <c:v>301</c:v>
                </c:pt>
                <c:pt idx="280">
                  <c:v>303</c:v>
                </c:pt>
                <c:pt idx="281">
                  <c:v>304</c:v>
                </c:pt>
                <c:pt idx="282">
                  <c:v>305</c:v>
                </c:pt>
                <c:pt idx="283">
                  <c:v>306</c:v>
                </c:pt>
                <c:pt idx="284">
                  <c:v>308</c:v>
                </c:pt>
                <c:pt idx="285">
                  <c:v>310</c:v>
                </c:pt>
                <c:pt idx="286">
                  <c:v>312</c:v>
                </c:pt>
                <c:pt idx="287">
                  <c:v>308</c:v>
                </c:pt>
                <c:pt idx="288">
                  <c:v>310</c:v>
                </c:pt>
                <c:pt idx="289">
                  <c:v>314</c:v>
                </c:pt>
                <c:pt idx="290">
                  <c:v>318</c:v>
                </c:pt>
                <c:pt idx="291">
                  <c:v>320</c:v>
                </c:pt>
                <c:pt idx="292">
                  <c:v>321</c:v>
                </c:pt>
                <c:pt idx="293">
                  <c:v>322</c:v>
                </c:pt>
                <c:pt idx="294">
                  <c:v>323</c:v>
                </c:pt>
                <c:pt idx="295">
                  <c:v>323</c:v>
                </c:pt>
                <c:pt idx="296">
                  <c:v>323</c:v>
                </c:pt>
                <c:pt idx="297">
                  <c:v>324</c:v>
                </c:pt>
                <c:pt idx="298">
                  <c:v>325</c:v>
                </c:pt>
                <c:pt idx="299">
                  <c:v>325</c:v>
                </c:pt>
                <c:pt idx="300">
                  <c:v>326</c:v>
                </c:pt>
                <c:pt idx="301">
                  <c:v>327</c:v>
                </c:pt>
                <c:pt idx="302">
                  <c:v>327</c:v>
                </c:pt>
                <c:pt idx="303">
                  <c:v>328</c:v>
                </c:pt>
                <c:pt idx="304">
                  <c:v>328</c:v>
                </c:pt>
                <c:pt idx="305">
                  <c:v>330</c:v>
                </c:pt>
                <c:pt idx="306">
                  <c:v>331</c:v>
                </c:pt>
                <c:pt idx="307">
                  <c:v>332</c:v>
                </c:pt>
                <c:pt idx="308">
                  <c:v>334</c:v>
                </c:pt>
                <c:pt idx="309">
                  <c:v>336</c:v>
                </c:pt>
                <c:pt idx="310">
                  <c:v>338</c:v>
                </c:pt>
                <c:pt idx="311">
                  <c:v>338</c:v>
                </c:pt>
                <c:pt idx="312">
                  <c:v>343</c:v>
                </c:pt>
                <c:pt idx="313">
                  <c:v>348</c:v>
                </c:pt>
                <c:pt idx="314">
                  <c:v>352</c:v>
                </c:pt>
                <c:pt idx="315">
                  <c:v>355</c:v>
                </c:pt>
                <c:pt idx="316">
                  <c:v>357</c:v>
                </c:pt>
                <c:pt idx="317">
                  <c:v>358</c:v>
                </c:pt>
                <c:pt idx="318">
                  <c:v>359</c:v>
                </c:pt>
                <c:pt idx="319">
                  <c:v>360</c:v>
                </c:pt>
                <c:pt idx="320">
                  <c:v>361</c:v>
                </c:pt>
                <c:pt idx="321">
                  <c:v>360</c:v>
                </c:pt>
                <c:pt idx="322">
                  <c:v>362</c:v>
                </c:pt>
                <c:pt idx="323">
                  <c:v>362</c:v>
                </c:pt>
                <c:pt idx="324">
                  <c:v>363</c:v>
                </c:pt>
                <c:pt idx="325">
                  <c:v>364</c:v>
                </c:pt>
                <c:pt idx="326">
                  <c:v>364</c:v>
                </c:pt>
                <c:pt idx="327">
                  <c:v>365</c:v>
                </c:pt>
                <c:pt idx="328">
                  <c:v>366</c:v>
                </c:pt>
                <c:pt idx="329">
                  <c:v>367</c:v>
                </c:pt>
                <c:pt idx="330">
                  <c:v>369</c:v>
                </c:pt>
                <c:pt idx="331">
                  <c:v>370</c:v>
                </c:pt>
                <c:pt idx="332">
                  <c:v>371</c:v>
                </c:pt>
                <c:pt idx="333">
                  <c:v>374</c:v>
                </c:pt>
                <c:pt idx="334">
                  <c:v>373</c:v>
                </c:pt>
                <c:pt idx="335">
                  <c:v>380</c:v>
                </c:pt>
                <c:pt idx="336">
                  <c:v>360</c:v>
                </c:pt>
                <c:pt idx="337">
                  <c:v>366</c:v>
                </c:pt>
                <c:pt idx="338">
                  <c:v>376</c:v>
                </c:pt>
                <c:pt idx="339">
                  <c:v>386</c:v>
                </c:pt>
                <c:pt idx="340">
                  <c:v>393</c:v>
                </c:pt>
                <c:pt idx="341">
                  <c:v>399</c:v>
                </c:pt>
                <c:pt idx="342">
                  <c:v>403</c:v>
                </c:pt>
                <c:pt idx="343">
                  <c:v>405</c:v>
                </c:pt>
                <c:pt idx="344">
                  <c:v>407</c:v>
                </c:pt>
                <c:pt idx="345">
                  <c:v>409</c:v>
                </c:pt>
                <c:pt idx="346">
                  <c:v>410</c:v>
                </c:pt>
                <c:pt idx="347">
                  <c:v>412</c:v>
                </c:pt>
                <c:pt idx="348">
                  <c:v>413</c:v>
                </c:pt>
                <c:pt idx="349">
                  <c:v>414</c:v>
                </c:pt>
                <c:pt idx="350">
                  <c:v>415</c:v>
                </c:pt>
                <c:pt idx="351">
                  <c:v>416</c:v>
                </c:pt>
                <c:pt idx="352">
                  <c:v>418</c:v>
                </c:pt>
                <c:pt idx="353">
                  <c:v>419</c:v>
                </c:pt>
                <c:pt idx="354">
                  <c:v>413</c:v>
                </c:pt>
                <c:pt idx="355">
                  <c:v>418</c:v>
                </c:pt>
                <c:pt idx="356">
                  <c:v>424</c:v>
                </c:pt>
                <c:pt idx="357">
                  <c:v>427</c:v>
                </c:pt>
                <c:pt idx="358">
                  <c:v>434</c:v>
                </c:pt>
                <c:pt idx="359">
                  <c:v>440</c:v>
                </c:pt>
                <c:pt idx="360">
                  <c:v>444</c:v>
                </c:pt>
                <c:pt idx="361">
                  <c:v>449</c:v>
                </c:pt>
                <c:pt idx="362">
                  <c:v>449</c:v>
                </c:pt>
                <c:pt idx="363">
                  <c:v>452</c:v>
                </c:pt>
                <c:pt idx="364">
                  <c:v>454</c:v>
                </c:pt>
                <c:pt idx="365">
                  <c:v>457</c:v>
                </c:pt>
                <c:pt idx="366">
                  <c:v>459</c:v>
                </c:pt>
                <c:pt idx="367">
                  <c:v>459</c:v>
                </c:pt>
                <c:pt idx="368">
                  <c:v>461</c:v>
                </c:pt>
                <c:pt idx="369">
                  <c:v>462</c:v>
                </c:pt>
                <c:pt idx="370">
                  <c:v>463</c:v>
                </c:pt>
                <c:pt idx="371">
                  <c:v>464</c:v>
                </c:pt>
                <c:pt idx="372">
                  <c:v>465</c:v>
                </c:pt>
                <c:pt idx="373">
                  <c:v>466</c:v>
                </c:pt>
                <c:pt idx="374">
                  <c:v>467</c:v>
                </c:pt>
                <c:pt idx="375">
                  <c:v>467</c:v>
                </c:pt>
                <c:pt idx="376">
                  <c:v>469</c:v>
                </c:pt>
                <c:pt idx="377">
                  <c:v>471</c:v>
                </c:pt>
                <c:pt idx="378">
                  <c:v>471</c:v>
                </c:pt>
                <c:pt idx="379">
                  <c:v>474</c:v>
                </c:pt>
                <c:pt idx="380">
                  <c:v>476</c:v>
                </c:pt>
                <c:pt idx="381">
                  <c:v>479</c:v>
                </c:pt>
                <c:pt idx="382">
                  <c:v>482</c:v>
                </c:pt>
                <c:pt idx="383">
                  <c:v>486</c:v>
                </c:pt>
                <c:pt idx="384">
                  <c:v>492</c:v>
                </c:pt>
                <c:pt idx="385">
                  <c:v>498</c:v>
                </c:pt>
                <c:pt idx="386">
                  <c:v>501</c:v>
                </c:pt>
                <c:pt idx="387">
                  <c:v>503</c:v>
                </c:pt>
                <c:pt idx="388">
                  <c:v>503</c:v>
                </c:pt>
                <c:pt idx="389">
                  <c:v>503</c:v>
                </c:pt>
                <c:pt idx="390">
                  <c:v>504</c:v>
                </c:pt>
                <c:pt idx="391">
                  <c:v>504</c:v>
                </c:pt>
                <c:pt idx="392">
                  <c:v>505</c:v>
                </c:pt>
                <c:pt idx="393">
                  <c:v>506</c:v>
                </c:pt>
                <c:pt idx="394">
                  <c:v>506</c:v>
                </c:pt>
                <c:pt idx="395">
                  <c:v>508</c:v>
                </c:pt>
                <c:pt idx="396">
                  <c:v>509</c:v>
                </c:pt>
                <c:pt idx="397">
                  <c:v>509</c:v>
                </c:pt>
                <c:pt idx="398">
                  <c:v>510</c:v>
                </c:pt>
                <c:pt idx="399">
                  <c:v>512</c:v>
                </c:pt>
                <c:pt idx="400">
                  <c:v>513</c:v>
                </c:pt>
                <c:pt idx="401">
                  <c:v>514</c:v>
                </c:pt>
                <c:pt idx="402">
                  <c:v>511</c:v>
                </c:pt>
                <c:pt idx="403">
                  <c:v>512</c:v>
                </c:pt>
                <c:pt idx="404">
                  <c:v>514</c:v>
                </c:pt>
                <c:pt idx="405">
                  <c:v>516</c:v>
                </c:pt>
                <c:pt idx="406">
                  <c:v>518</c:v>
                </c:pt>
                <c:pt idx="407">
                  <c:v>520</c:v>
                </c:pt>
                <c:pt idx="408">
                  <c:v>514</c:v>
                </c:pt>
                <c:pt idx="409">
                  <c:v>519</c:v>
                </c:pt>
                <c:pt idx="410">
                  <c:v>521</c:v>
                </c:pt>
                <c:pt idx="411">
                  <c:v>526</c:v>
                </c:pt>
                <c:pt idx="412">
                  <c:v>530</c:v>
                </c:pt>
                <c:pt idx="413">
                  <c:v>531</c:v>
                </c:pt>
                <c:pt idx="414">
                  <c:v>534</c:v>
                </c:pt>
                <c:pt idx="415">
                  <c:v>535</c:v>
                </c:pt>
                <c:pt idx="416">
                  <c:v>536</c:v>
                </c:pt>
                <c:pt idx="417">
                  <c:v>538</c:v>
                </c:pt>
                <c:pt idx="418">
                  <c:v>539</c:v>
                </c:pt>
                <c:pt idx="419">
                  <c:v>540</c:v>
                </c:pt>
                <c:pt idx="420">
                  <c:v>541</c:v>
                </c:pt>
                <c:pt idx="421">
                  <c:v>542</c:v>
                </c:pt>
                <c:pt idx="422">
                  <c:v>543</c:v>
                </c:pt>
                <c:pt idx="423">
                  <c:v>544</c:v>
                </c:pt>
                <c:pt idx="424">
                  <c:v>544</c:v>
                </c:pt>
                <c:pt idx="425">
                  <c:v>546</c:v>
                </c:pt>
                <c:pt idx="426">
                  <c:v>548</c:v>
                </c:pt>
                <c:pt idx="427">
                  <c:v>549</c:v>
                </c:pt>
                <c:pt idx="428">
                  <c:v>551</c:v>
                </c:pt>
                <c:pt idx="429">
                  <c:v>555</c:v>
                </c:pt>
                <c:pt idx="430">
                  <c:v>558</c:v>
                </c:pt>
                <c:pt idx="431">
                  <c:v>597</c:v>
                </c:pt>
                <c:pt idx="432">
                  <c:v>603</c:v>
                </c:pt>
                <c:pt idx="433">
                  <c:v>607</c:v>
                </c:pt>
                <c:pt idx="434">
                  <c:v>611</c:v>
                </c:pt>
                <c:pt idx="435">
                  <c:v>613</c:v>
                </c:pt>
                <c:pt idx="436">
                  <c:v>617</c:v>
                </c:pt>
                <c:pt idx="437">
                  <c:v>619</c:v>
                </c:pt>
                <c:pt idx="438">
                  <c:v>620</c:v>
                </c:pt>
                <c:pt idx="439">
                  <c:v>623</c:v>
                </c:pt>
                <c:pt idx="440">
                  <c:v>624</c:v>
                </c:pt>
                <c:pt idx="441">
                  <c:v>626</c:v>
                </c:pt>
                <c:pt idx="442">
                  <c:v>627</c:v>
                </c:pt>
                <c:pt idx="443">
                  <c:v>628</c:v>
                </c:pt>
                <c:pt idx="444">
                  <c:v>630</c:v>
                </c:pt>
                <c:pt idx="445">
                  <c:v>631</c:v>
                </c:pt>
                <c:pt idx="446">
                  <c:v>631</c:v>
                </c:pt>
                <c:pt idx="447">
                  <c:v>633</c:v>
                </c:pt>
                <c:pt idx="448">
                  <c:v>634</c:v>
                </c:pt>
                <c:pt idx="449">
                  <c:v>635</c:v>
                </c:pt>
                <c:pt idx="450">
                  <c:v>636</c:v>
                </c:pt>
                <c:pt idx="451">
                  <c:v>637</c:v>
                </c:pt>
                <c:pt idx="452">
                  <c:v>640</c:v>
                </c:pt>
                <c:pt idx="453">
                  <c:v>642</c:v>
                </c:pt>
                <c:pt idx="454">
                  <c:v>643</c:v>
                </c:pt>
                <c:pt idx="455">
                  <c:v>647</c:v>
                </c:pt>
                <c:pt idx="456">
                  <c:v>649</c:v>
                </c:pt>
                <c:pt idx="457">
                  <c:v>652</c:v>
                </c:pt>
                <c:pt idx="458">
                  <c:v>655</c:v>
                </c:pt>
                <c:pt idx="459">
                  <c:v>657</c:v>
                </c:pt>
                <c:pt idx="460">
                  <c:v>658</c:v>
                </c:pt>
                <c:pt idx="461">
                  <c:v>660</c:v>
                </c:pt>
                <c:pt idx="462">
                  <c:v>661</c:v>
                </c:pt>
                <c:pt idx="463">
                  <c:v>662</c:v>
                </c:pt>
                <c:pt idx="464">
                  <c:v>663</c:v>
                </c:pt>
                <c:pt idx="465">
                  <c:v>663</c:v>
                </c:pt>
                <c:pt idx="466">
                  <c:v>665</c:v>
                </c:pt>
                <c:pt idx="467">
                  <c:v>666</c:v>
                </c:pt>
                <c:pt idx="468">
                  <c:v>667</c:v>
                </c:pt>
                <c:pt idx="469">
                  <c:v>668</c:v>
                </c:pt>
                <c:pt idx="470">
                  <c:v>669</c:v>
                </c:pt>
                <c:pt idx="471">
                  <c:v>670</c:v>
                </c:pt>
                <c:pt idx="472">
                  <c:v>671</c:v>
                </c:pt>
                <c:pt idx="473">
                  <c:v>672</c:v>
                </c:pt>
                <c:pt idx="474">
                  <c:v>674</c:v>
                </c:pt>
                <c:pt idx="475">
                  <c:v>676</c:v>
                </c:pt>
                <c:pt idx="476">
                  <c:v>678</c:v>
                </c:pt>
                <c:pt idx="477">
                  <c:v>681</c:v>
                </c:pt>
                <c:pt idx="478">
                  <c:v>683</c:v>
                </c:pt>
                <c:pt idx="479">
                  <c:v>686</c:v>
                </c:pt>
                <c:pt idx="480">
                  <c:v>690</c:v>
                </c:pt>
                <c:pt idx="481">
                  <c:v>694</c:v>
                </c:pt>
                <c:pt idx="482">
                  <c:v>697</c:v>
                </c:pt>
                <c:pt idx="483">
                  <c:v>699</c:v>
                </c:pt>
                <c:pt idx="484">
                  <c:v>701</c:v>
                </c:pt>
                <c:pt idx="485">
                  <c:v>704</c:v>
                </c:pt>
                <c:pt idx="486">
                  <c:v>706</c:v>
                </c:pt>
                <c:pt idx="487">
                  <c:v>708</c:v>
                </c:pt>
                <c:pt idx="488">
                  <c:v>709</c:v>
                </c:pt>
                <c:pt idx="489">
                  <c:v>710</c:v>
                </c:pt>
                <c:pt idx="490">
                  <c:v>712</c:v>
                </c:pt>
                <c:pt idx="491">
                  <c:v>713</c:v>
                </c:pt>
                <c:pt idx="492">
                  <c:v>714</c:v>
                </c:pt>
                <c:pt idx="493">
                  <c:v>716</c:v>
                </c:pt>
                <c:pt idx="494">
                  <c:v>718</c:v>
                </c:pt>
                <c:pt idx="495">
                  <c:v>719</c:v>
                </c:pt>
                <c:pt idx="496">
                  <c:v>721</c:v>
                </c:pt>
                <c:pt idx="497">
                  <c:v>723</c:v>
                </c:pt>
                <c:pt idx="498">
                  <c:v>726</c:v>
                </c:pt>
                <c:pt idx="499">
                  <c:v>729</c:v>
                </c:pt>
                <c:pt idx="500">
                  <c:v>731</c:v>
                </c:pt>
                <c:pt idx="501">
                  <c:v>733</c:v>
                </c:pt>
                <c:pt idx="502">
                  <c:v>736</c:v>
                </c:pt>
                <c:pt idx="503">
                  <c:v>738</c:v>
                </c:pt>
                <c:pt idx="504">
                  <c:v>765</c:v>
                </c:pt>
                <c:pt idx="505">
                  <c:v>772</c:v>
                </c:pt>
                <c:pt idx="506">
                  <c:v>776</c:v>
                </c:pt>
                <c:pt idx="507">
                  <c:v>781</c:v>
                </c:pt>
                <c:pt idx="508">
                  <c:v>784</c:v>
                </c:pt>
                <c:pt idx="509">
                  <c:v>787</c:v>
                </c:pt>
                <c:pt idx="510">
                  <c:v>790</c:v>
                </c:pt>
                <c:pt idx="511">
                  <c:v>791</c:v>
                </c:pt>
                <c:pt idx="512">
                  <c:v>794</c:v>
                </c:pt>
                <c:pt idx="513">
                  <c:v>796</c:v>
                </c:pt>
                <c:pt idx="514">
                  <c:v>798</c:v>
                </c:pt>
                <c:pt idx="515">
                  <c:v>800</c:v>
                </c:pt>
                <c:pt idx="516">
                  <c:v>802</c:v>
                </c:pt>
                <c:pt idx="517">
                  <c:v>803</c:v>
                </c:pt>
                <c:pt idx="518">
                  <c:v>805</c:v>
                </c:pt>
                <c:pt idx="519">
                  <c:v>806</c:v>
                </c:pt>
                <c:pt idx="520">
                  <c:v>808</c:v>
                </c:pt>
                <c:pt idx="521">
                  <c:v>810</c:v>
                </c:pt>
                <c:pt idx="522">
                  <c:v>811</c:v>
                </c:pt>
                <c:pt idx="523">
                  <c:v>813</c:v>
                </c:pt>
                <c:pt idx="524">
                  <c:v>814</c:v>
                </c:pt>
                <c:pt idx="525">
                  <c:v>816</c:v>
                </c:pt>
                <c:pt idx="526">
                  <c:v>819</c:v>
                </c:pt>
                <c:pt idx="527">
                  <c:v>822</c:v>
                </c:pt>
                <c:pt idx="528">
                  <c:v>825</c:v>
                </c:pt>
                <c:pt idx="529">
                  <c:v>828</c:v>
                </c:pt>
                <c:pt idx="530">
                  <c:v>830</c:v>
                </c:pt>
                <c:pt idx="531">
                  <c:v>832</c:v>
                </c:pt>
                <c:pt idx="532">
                  <c:v>834</c:v>
                </c:pt>
                <c:pt idx="533">
                  <c:v>836</c:v>
                </c:pt>
                <c:pt idx="534">
                  <c:v>838</c:v>
                </c:pt>
                <c:pt idx="535">
                  <c:v>839</c:v>
                </c:pt>
                <c:pt idx="536">
                  <c:v>840</c:v>
                </c:pt>
                <c:pt idx="537">
                  <c:v>841</c:v>
                </c:pt>
                <c:pt idx="538">
                  <c:v>843</c:v>
                </c:pt>
                <c:pt idx="539">
                  <c:v>844</c:v>
                </c:pt>
                <c:pt idx="540">
                  <c:v>846</c:v>
                </c:pt>
                <c:pt idx="541">
                  <c:v>847</c:v>
                </c:pt>
                <c:pt idx="542">
                  <c:v>848</c:v>
                </c:pt>
                <c:pt idx="543">
                  <c:v>850</c:v>
                </c:pt>
                <c:pt idx="544">
                  <c:v>851</c:v>
                </c:pt>
                <c:pt idx="545">
                  <c:v>852</c:v>
                </c:pt>
                <c:pt idx="546">
                  <c:v>855</c:v>
                </c:pt>
                <c:pt idx="547">
                  <c:v>857</c:v>
                </c:pt>
                <c:pt idx="548">
                  <c:v>859</c:v>
                </c:pt>
                <c:pt idx="549">
                  <c:v>861</c:v>
                </c:pt>
                <c:pt idx="550">
                  <c:v>863</c:v>
                </c:pt>
                <c:pt idx="551">
                  <c:v>866</c:v>
                </c:pt>
                <c:pt idx="552">
                  <c:v>867</c:v>
                </c:pt>
                <c:pt idx="553">
                  <c:v>870</c:v>
                </c:pt>
                <c:pt idx="554">
                  <c:v>872</c:v>
                </c:pt>
                <c:pt idx="555">
                  <c:v>875</c:v>
                </c:pt>
                <c:pt idx="556">
                  <c:v>877</c:v>
                </c:pt>
                <c:pt idx="557">
                  <c:v>879</c:v>
                </c:pt>
                <c:pt idx="558">
                  <c:v>881</c:v>
                </c:pt>
                <c:pt idx="559">
                  <c:v>882</c:v>
                </c:pt>
                <c:pt idx="560">
                  <c:v>884</c:v>
                </c:pt>
                <c:pt idx="561">
                  <c:v>886</c:v>
                </c:pt>
                <c:pt idx="562">
                  <c:v>887</c:v>
                </c:pt>
                <c:pt idx="563">
                  <c:v>888</c:v>
                </c:pt>
                <c:pt idx="564">
                  <c:v>890</c:v>
                </c:pt>
                <c:pt idx="565">
                  <c:v>891</c:v>
                </c:pt>
                <c:pt idx="566">
                  <c:v>893</c:v>
                </c:pt>
                <c:pt idx="567">
                  <c:v>895</c:v>
                </c:pt>
                <c:pt idx="568">
                  <c:v>896</c:v>
                </c:pt>
                <c:pt idx="569">
                  <c:v>898</c:v>
                </c:pt>
                <c:pt idx="570">
                  <c:v>900</c:v>
                </c:pt>
                <c:pt idx="571">
                  <c:v>902</c:v>
                </c:pt>
                <c:pt idx="572">
                  <c:v>905</c:v>
                </c:pt>
                <c:pt idx="573">
                  <c:v>908</c:v>
                </c:pt>
                <c:pt idx="574">
                  <c:v>910</c:v>
                </c:pt>
                <c:pt idx="575">
                  <c:v>913</c:v>
                </c:pt>
                <c:pt idx="576">
                  <c:v>917</c:v>
                </c:pt>
                <c:pt idx="577">
                  <c:v>921</c:v>
                </c:pt>
                <c:pt idx="578">
                  <c:v>925</c:v>
                </c:pt>
                <c:pt idx="579">
                  <c:v>926</c:v>
                </c:pt>
                <c:pt idx="580">
                  <c:v>929</c:v>
                </c:pt>
                <c:pt idx="581">
                  <c:v>931</c:v>
                </c:pt>
                <c:pt idx="582">
                  <c:v>932</c:v>
                </c:pt>
                <c:pt idx="583">
                  <c:v>934</c:v>
                </c:pt>
                <c:pt idx="584">
                  <c:v>936</c:v>
                </c:pt>
                <c:pt idx="585">
                  <c:v>938</c:v>
                </c:pt>
                <c:pt idx="586">
                  <c:v>940</c:v>
                </c:pt>
                <c:pt idx="587">
                  <c:v>941</c:v>
                </c:pt>
                <c:pt idx="588">
                  <c:v>943</c:v>
                </c:pt>
                <c:pt idx="589">
                  <c:v>945</c:v>
                </c:pt>
                <c:pt idx="590">
                  <c:v>947</c:v>
                </c:pt>
                <c:pt idx="591">
                  <c:v>950</c:v>
                </c:pt>
                <c:pt idx="592">
                  <c:v>952</c:v>
                </c:pt>
                <c:pt idx="593">
                  <c:v>953</c:v>
                </c:pt>
                <c:pt idx="594">
                  <c:v>956</c:v>
                </c:pt>
                <c:pt idx="595">
                  <c:v>958</c:v>
                </c:pt>
                <c:pt idx="596">
                  <c:v>962</c:v>
                </c:pt>
                <c:pt idx="597">
                  <c:v>964</c:v>
                </c:pt>
                <c:pt idx="598">
                  <c:v>1007</c:v>
                </c:pt>
                <c:pt idx="599">
                  <c:v>1018</c:v>
                </c:pt>
                <c:pt idx="600">
                  <c:v>1025</c:v>
                </c:pt>
                <c:pt idx="601">
                  <c:v>1029</c:v>
                </c:pt>
                <c:pt idx="602">
                  <c:v>1034</c:v>
                </c:pt>
                <c:pt idx="603">
                  <c:v>1037</c:v>
                </c:pt>
                <c:pt idx="604">
                  <c:v>1039</c:v>
                </c:pt>
                <c:pt idx="605">
                  <c:v>1042</c:v>
                </c:pt>
                <c:pt idx="606">
                  <c:v>1044</c:v>
                </c:pt>
                <c:pt idx="607">
                  <c:v>1045</c:v>
                </c:pt>
                <c:pt idx="608">
                  <c:v>1048</c:v>
                </c:pt>
                <c:pt idx="609">
                  <c:v>1050</c:v>
                </c:pt>
                <c:pt idx="610">
                  <c:v>1052</c:v>
                </c:pt>
                <c:pt idx="611">
                  <c:v>1054</c:v>
                </c:pt>
                <c:pt idx="612">
                  <c:v>1056</c:v>
                </c:pt>
                <c:pt idx="613">
                  <c:v>1059</c:v>
                </c:pt>
                <c:pt idx="614">
                  <c:v>1061</c:v>
                </c:pt>
                <c:pt idx="615">
                  <c:v>1064</c:v>
                </c:pt>
                <c:pt idx="616">
                  <c:v>1066</c:v>
                </c:pt>
                <c:pt idx="617">
                  <c:v>1069</c:v>
                </c:pt>
                <c:pt idx="618">
                  <c:v>1072</c:v>
                </c:pt>
                <c:pt idx="619">
                  <c:v>1075</c:v>
                </c:pt>
                <c:pt idx="620">
                  <c:v>1078</c:v>
                </c:pt>
                <c:pt idx="621">
                  <c:v>1081</c:v>
                </c:pt>
                <c:pt idx="622">
                  <c:v>1085</c:v>
                </c:pt>
                <c:pt idx="623">
                  <c:v>1088</c:v>
                </c:pt>
                <c:pt idx="624">
                  <c:v>1091</c:v>
                </c:pt>
                <c:pt idx="625">
                  <c:v>1094</c:v>
                </c:pt>
                <c:pt idx="626">
                  <c:v>1098</c:v>
                </c:pt>
                <c:pt idx="627">
                  <c:v>1102</c:v>
                </c:pt>
                <c:pt idx="628">
                  <c:v>1104</c:v>
                </c:pt>
                <c:pt idx="629">
                  <c:v>1108</c:v>
                </c:pt>
                <c:pt idx="630">
                  <c:v>1110</c:v>
                </c:pt>
                <c:pt idx="631">
                  <c:v>1112</c:v>
                </c:pt>
                <c:pt idx="632">
                  <c:v>1117</c:v>
                </c:pt>
                <c:pt idx="633">
                  <c:v>1119</c:v>
                </c:pt>
                <c:pt idx="634">
                  <c:v>1122</c:v>
                </c:pt>
                <c:pt idx="635">
                  <c:v>1125</c:v>
                </c:pt>
                <c:pt idx="636">
                  <c:v>1128</c:v>
                </c:pt>
                <c:pt idx="637">
                  <c:v>1131</c:v>
                </c:pt>
                <c:pt idx="638">
                  <c:v>1134</c:v>
                </c:pt>
                <c:pt idx="639">
                  <c:v>1137</c:v>
                </c:pt>
                <c:pt idx="640">
                  <c:v>1140</c:v>
                </c:pt>
                <c:pt idx="641">
                  <c:v>1144</c:v>
                </c:pt>
                <c:pt idx="642">
                  <c:v>1146</c:v>
                </c:pt>
                <c:pt idx="643">
                  <c:v>1150</c:v>
                </c:pt>
                <c:pt idx="644">
                  <c:v>1153</c:v>
                </c:pt>
                <c:pt idx="645">
                  <c:v>1156</c:v>
                </c:pt>
                <c:pt idx="646">
                  <c:v>1160</c:v>
                </c:pt>
                <c:pt idx="647">
                  <c:v>1196</c:v>
                </c:pt>
                <c:pt idx="648">
                  <c:v>1200</c:v>
                </c:pt>
                <c:pt idx="649">
                  <c:v>1205</c:v>
                </c:pt>
                <c:pt idx="650">
                  <c:v>1209</c:v>
                </c:pt>
                <c:pt idx="651">
                  <c:v>1214</c:v>
                </c:pt>
                <c:pt idx="652">
                  <c:v>1217</c:v>
                </c:pt>
                <c:pt idx="653">
                  <c:v>1220</c:v>
                </c:pt>
                <c:pt idx="654">
                  <c:v>1223</c:v>
                </c:pt>
                <c:pt idx="655">
                  <c:v>1227</c:v>
                </c:pt>
                <c:pt idx="656">
                  <c:v>1230</c:v>
                </c:pt>
                <c:pt idx="657">
                  <c:v>1233</c:v>
                </c:pt>
                <c:pt idx="658">
                  <c:v>1236</c:v>
                </c:pt>
                <c:pt idx="659">
                  <c:v>1239</c:v>
                </c:pt>
                <c:pt idx="660">
                  <c:v>1242</c:v>
                </c:pt>
                <c:pt idx="661">
                  <c:v>1244</c:v>
                </c:pt>
                <c:pt idx="662">
                  <c:v>1247</c:v>
                </c:pt>
                <c:pt idx="663">
                  <c:v>1250</c:v>
                </c:pt>
                <c:pt idx="664">
                  <c:v>1253</c:v>
                </c:pt>
                <c:pt idx="665">
                  <c:v>1257</c:v>
                </c:pt>
                <c:pt idx="666">
                  <c:v>1259</c:v>
                </c:pt>
                <c:pt idx="667">
                  <c:v>1263</c:v>
                </c:pt>
                <c:pt idx="668">
                  <c:v>1267</c:v>
                </c:pt>
                <c:pt idx="669">
                  <c:v>1269</c:v>
                </c:pt>
                <c:pt idx="670">
                  <c:v>1273</c:v>
                </c:pt>
                <c:pt idx="671">
                  <c:v>135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C8B-524C-A18C-3E93F3A5EAEB}"/>
            </c:ext>
          </c:extLst>
        </c:ser>
        <c:ser>
          <c:idx val="2"/>
          <c:order val="2"/>
          <c:tx>
            <c:v>12</c:v>
          </c:tx>
          <c:spPr>
            <a:ln w="3492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12 Gülle gesiebt'!$E$20:$E$691</c:f>
              <c:numCache>
                <c:formatCode>0</c:formatCode>
                <c:ptCount val="672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  <c:pt idx="668">
                  <c:v>27.833333333333332</c:v>
                </c:pt>
                <c:pt idx="669">
                  <c:v>27.875</c:v>
                </c:pt>
                <c:pt idx="670">
                  <c:v>27.916666666666668</c:v>
                </c:pt>
                <c:pt idx="671">
                  <c:v>27.958333333333332</c:v>
                </c:pt>
              </c:numCache>
            </c:numRef>
          </c:xVal>
          <c:yVal>
            <c:numRef>
              <c:f>'12 Gülle gesiebt'!$D$20:$D$691</c:f>
              <c:numCache>
                <c:formatCode>General</c:formatCode>
                <c:ptCount val="672"/>
                <c:pt idx="0">
                  <c:v>0</c:v>
                </c:pt>
                <c:pt idx="1">
                  <c:v>105</c:v>
                </c:pt>
                <c:pt idx="2">
                  <c:v>131</c:v>
                </c:pt>
                <c:pt idx="3">
                  <c:v>145</c:v>
                </c:pt>
                <c:pt idx="4">
                  <c:v>155</c:v>
                </c:pt>
                <c:pt idx="5">
                  <c:v>161</c:v>
                </c:pt>
                <c:pt idx="6">
                  <c:v>164</c:v>
                </c:pt>
                <c:pt idx="7">
                  <c:v>167</c:v>
                </c:pt>
                <c:pt idx="8">
                  <c:v>169</c:v>
                </c:pt>
                <c:pt idx="9">
                  <c:v>170</c:v>
                </c:pt>
                <c:pt idx="10">
                  <c:v>171</c:v>
                </c:pt>
                <c:pt idx="11">
                  <c:v>171</c:v>
                </c:pt>
                <c:pt idx="12">
                  <c:v>172</c:v>
                </c:pt>
                <c:pt idx="13">
                  <c:v>173</c:v>
                </c:pt>
                <c:pt idx="14">
                  <c:v>173</c:v>
                </c:pt>
                <c:pt idx="15">
                  <c:v>174</c:v>
                </c:pt>
                <c:pt idx="16">
                  <c:v>175</c:v>
                </c:pt>
                <c:pt idx="17">
                  <c:v>186</c:v>
                </c:pt>
                <c:pt idx="18">
                  <c:v>188</c:v>
                </c:pt>
                <c:pt idx="19">
                  <c:v>190</c:v>
                </c:pt>
                <c:pt idx="20">
                  <c:v>193</c:v>
                </c:pt>
                <c:pt idx="21">
                  <c:v>192</c:v>
                </c:pt>
                <c:pt idx="22">
                  <c:v>193</c:v>
                </c:pt>
                <c:pt idx="23">
                  <c:v>195</c:v>
                </c:pt>
                <c:pt idx="24">
                  <c:v>197</c:v>
                </c:pt>
                <c:pt idx="25">
                  <c:v>198</c:v>
                </c:pt>
                <c:pt idx="26">
                  <c:v>179</c:v>
                </c:pt>
                <c:pt idx="27">
                  <c:v>187</c:v>
                </c:pt>
                <c:pt idx="28">
                  <c:v>193</c:v>
                </c:pt>
                <c:pt idx="29">
                  <c:v>196</c:v>
                </c:pt>
                <c:pt idx="30">
                  <c:v>198</c:v>
                </c:pt>
                <c:pt idx="31">
                  <c:v>199</c:v>
                </c:pt>
                <c:pt idx="32">
                  <c:v>201</c:v>
                </c:pt>
                <c:pt idx="33">
                  <c:v>201</c:v>
                </c:pt>
                <c:pt idx="34">
                  <c:v>202</c:v>
                </c:pt>
                <c:pt idx="35">
                  <c:v>203</c:v>
                </c:pt>
                <c:pt idx="36">
                  <c:v>203</c:v>
                </c:pt>
                <c:pt idx="37">
                  <c:v>203</c:v>
                </c:pt>
                <c:pt idx="38">
                  <c:v>203</c:v>
                </c:pt>
                <c:pt idx="39">
                  <c:v>204</c:v>
                </c:pt>
                <c:pt idx="40">
                  <c:v>204</c:v>
                </c:pt>
                <c:pt idx="41">
                  <c:v>203</c:v>
                </c:pt>
                <c:pt idx="42">
                  <c:v>203</c:v>
                </c:pt>
                <c:pt idx="43">
                  <c:v>203</c:v>
                </c:pt>
                <c:pt idx="44">
                  <c:v>204</c:v>
                </c:pt>
                <c:pt idx="45">
                  <c:v>203</c:v>
                </c:pt>
                <c:pt idx="46">
                  <c:v>206</c:v>
                </c:pt>
                <c:pt idx="47">
                  <c:v>208</c:v>
                </c:pt>
                <c:pt idx="48">
                  <c:v>205</c:v>
                </c:pt>
                <c:pt idx="49">
                  <c:v>206</c:v>
                </c:pt>
                <c:pt idx="50">
                  <c:v>207</c:v>
                </c:pt>
                <c:pt idx="51">
                  <c:v>210</c:v>
                </c:pt>
                <c:pt idx="52">
                  <c:v>211</c:v>
                </c:pt>
                <c:pt idx="53">
                  <c:v>213</c:v>
                </c:pt>
                <c:pt idx="54">
                  <c:v>214</c:v>
                </c:pt>
                <c:pt idx="55">
                  <c:v>215</c:v>
                </c:pt>
                <c:pt idx="56">
                  <c:v>215</c:v>
                </c:pt>
                <c:pt idx="57">
                  <c:v>215</c:v>
                </c:pt>
                <c:pt idx="58">
                  <c:v>216</c:v>
                </c:pt>
                <c:pt idx="59">
                  <c:v>216</c:v>
                </c:pt>
                <c:pt idx="60">
                  <c:v>216</c:v>
                </c:pt>
                <c:pt idx="61">
                  <c:v>217</c:v>
                </c:pt>
                <c:pt idx="62">
                  <c:v>217</c:v>
                </c:pt>
                <c:pt idx="63">
                  <c:v>217</c:v>
                </c:pt>
                <c:pt idx="64">
                  <c:v>217</c:v>
                </c:pt>
                <c:pt idx="65">
                  <c:v>217</c:v>
                </c:pt>
                <c:pt idx="66">
                  <c:v>218</c:v>
                </c:pt>
                <c:pt idx="67">
                  <c:v>219</c:v>
                </c:pt>
                <c:pt idx="68">
                  <c:v>218</c:v>
                </c:pt>
                <c:pt idx="69">
                  <c:v>218</c:v>
                </c:pt>
                <c:pt idx="70">
                  <c:v>219</c:v>
                </c:pt>
                <c:pt idx="71">
                  <c:v>220</c:v>
                </c:pt>
                <c:pt idx="72">
                  <c:v>221</c:v>
                </c:pt>
                <c:pt idx="73">
                  <c:v>222</c:v>
                </c:pt>
                <c:pt idx="74">
                  <c:v>225</c:v>
                </c:pt>
                <c:pt idx="75">
                  <c:v>225</c:v>
                </c:pt>
                <c:pt idx="76">
                  <c:v>225</c:v>
                </c:pt>
                <c:pt idx="77">
                  <c:v>225</c:v>
                </c:pt>
                <c:pt idx="78">
                  <c:v>224</c:v>
                </c:pt>
                <c:pt idx="79">
                  <c:v>223</c:v>
                </c:pt>
                <c:pt idx="80">
                  <c:v>224</c:v>
                </c:pt>
                <c:pt idx="81">
                  <c:v>224</c:v>
                </c:pt>
                <c:pt idx="82">
                  <c:v>224</c:v>
                </c:pt>
                <c:pt idx="83">
                  <c:v>224</c:v>
                </c:pt>
                <c:pt idx="84">
                  <c:v>224</c:v>
                </c:pt>
                <c:pt idx="85">
                  <c:v>224</c:v>
                </c:pt>
                <c:pt idx="86">
                  <c:v>224</c:v>
                </c:pt>
                <c:pt idx="87">
                  <c:v>224</c:v>
                </c:pt>
                <c:pt idx="88">
                  <c:v>225</c:v>
                </c:pt>
                <c:pt idx="89">
                  <c:v>224</c:v>
                </c:pt>
                <c:pt idx="90">
                  <c:v>219</c:v>
                </c:pt>
                <c:pt idx="91">
                  <c:v>214</c:v>
                </c:pt>
                <c:pt idx="92">
                  <c:v>211</c:v>
                </c:pt>
                <c:pt idx="93">
                  <c:v>214</c:v>
                </c:pt>
                <c:pt idx="94">
                  <c:v>214</c:v>
                </c:pt>
                <c:pt idx="95">
                  <c:v>211</c:v>
                </c:pt>
                <c:pt idx="96">
                  <c:v>217</c:v>
                </c:pt>
                <c:pt idx="97">
                  <c:v>222</c:v>
                </c:pt>
                <c:pt idx="98">
                  <c:v>226</c:v>
                </c:pt>
                <c:pt idx="99">
                  <c:v>229</c:v>
                </c:pt>
                <c:pt idx="100">
                  <c:v>232</c:v>
                </c:pt>
                <c:pt idx="101">
                  <c:v>234</c:v>
                </c:pt>
                <c:pt idx="102">
                  <c:v>236</c:v>
                </c:pt>
                <c:pt idx="103">
                  <c:v>236</c:v>
                </c:pt>
                <c:pt idx="104">
                  <c:v>238</c:v>
                </c:pt>
                <c:pt idx="105">
                  <c:v>239</c:v>
                </c:pt>
                <c:pt idx="106">
                  <c:v>239</c:v>
                </c:pt>
                <c:pt idx="107">
                  <c:v>240</c:v>
                </c:pt>
                <c:pt idx="108">
                  <c:v>241</c:v>
                </c:pt>
                <c:pt idx="109">
                  <c:v>242</c:v>
                </c:pt>
                <c:pt idx="110">
                  <c:v>242</c:v>
                </c:pt>
                <c:pt idx="111">
                  <c:v>242</c:v>
                </c:pt>
                <c:pt idx="112">
                  <c:v>244</c:v>
                </c:pt>
                <c:pt idx="113">
                  <c:v>245</c:v>
                </c:pt>
                <c:pt idx="114">
                  <c:v>246</c:v>
                </c:pt>
                <c:pt idx="115">
                  <c:v>248</c:v>
                </c:pt>
                <c:pt idx="116">
                  <c:v>250</c:v>
                </c:pt>
                <c:pt idx="117">
                  <c:v>252</c:v>
                </c:pt>
                <c:pt idx="118">
                  <c:v>254</c:v>
                </c:pt>
                <c:pt idx="119">
                  <c:v>255</c:v>
                </c:pt>
                <c:pt idx="120">
                  <c:v>258</c:v>
                </c:pt>
                <c:pt idx="121">
                  <c:v>261</c:v>
                </c:pt>
                <c:pt idx="122">
                  <c:v>263</c:v>
                </c:pt>
                <c:pt idx="123">
                  <c:v>266</c:v>
                </c:pt>
                <c:pt idx="124">
                  <c:v>268</c:v>
                </c:pt>
                <c:pt idx="125">
                  <c:v>268</c:v>
                </c:pt>
                <c:pt idx="126">
                  <c:v>269</c:v>
                </c:pt>
                <c:pt idx="127">
                  <c:v>270</c:v>
                </c:pt>
                <c:pt idx="128">
                  <c:v>271</c:v>
                </c:pt>
                <c:pt idx="129">
                  <c:v>271</c:v>
                </c:pt>
                <c:pt idx="130">
                  <c:v>271</c:v>
                </c:pt>
                <c:pt idx="131">
                  <c:v>273</c:v>
                </c:pt>
                <c:pt idx="132">
                  <c:v>274</c:v>
                </c:pt>
                <c:pt idx="133">
                  <c:v>274</c:v>
                </c:pt>
                <c:pt idx="134">
                  <c:v>275</c:v>
                </c:pt>
                <c:pt idx="135">
                  <c:v>276</c:v>
                </c:pt>
                <c:pt idx="136">
                  <c:v>277</c:v>
                </c:pt>
                <c:pt idx="137">
                  <c:v>279</c:v>
                </c:pt>
                <c:pt idx="138">
                  <c:v>280</c:v>
                </c:pt>
                <c:pt idx="139">
                  <c:v>283</c:v>
                </c:pt>
                <c:pt idx="140">
                  <c:v>285</c:v>
                </c:pt>
                <c:pt idx="141">
                  <c:v>287</c:v>
                </c:pt>
                <c:pt idx="142">
                  <c:v>290</c:v>
                </c:pt>
                <c:pt idx="143">
                  <c:v>293</c:v>
                </c:pt>
                <c:pt idx="144">
                  <c:v>296</c:v>
                </c:pt>
                <c:pt idx="145">
                  <c:v>300</c:v>
                </c:pt>
                <c:pt idx="146">
                  <c:v>303</c:v>
                </c:pt>
                <c:pt idx="147">
                  <c:v>305</c:v>
                </c:pt>
                <c:pt idx="148">
                  <c:v>307</c:v>
                </c:pt>
                <c:pt idx="149">
                  <c:v>307</c:v>
                </c:pt>
                <c:pt idx="150">
                  <c:v>308</c:v>
                </c:pt>
                <c:pt idx="151">
                  <c:v>309</c:v>
                </c:pt>
                <c:pt idx="152">
                  <c:v>310</c:v>
                </c:pt>
                <c:pt idx="153">
                  <c:v>310</c:v>
                </c:pt>
                <c:pt idx="154">
                  <c:v>311</c:v>
                </c:pt>
                <c:pt idx="155">
                  <c:v>312</c:v>
                </c:pt>
                <c:pt idx="156">
                  <c:v>313</c:v>
                </c:pt>
                <c:pt idx="157">
                  <c:v>314</c:v>
                </c:pt>
                <c:pt idx="158">
                  <c:v>315</c:v>
                </c:pt>
                <c:pt idx="159">
                  <c:v>317</c:v>
                </c:pt>
                <c:pt idx="160">
                  <c:v>317</c:v>
                </c:pt>
                <c:pt idx="161">
                  <c:v>319</c:v>
                </c:pt>
                <c:pt idx="162">
                  <c:v>321</c:v>
                </c:pt>
                <c:pt idx="163">
                  <c:v>323</c:v>
                </c:pt>
                <c:pt idx="164">
                  <c:v>326</c:v>
                </c:pt>
                <c:pt idx="165">
                  <c:v>330</c:v>
                </c:pt>
                <c:pt idx="166">
                  <c:v>333</c:v>
                </c:pt>
                <c:pt idx="167">
                  <c:v>336</c:v>
                </c:pt>
                <c:pt idx="168">
                  <c:v>339</c:v>
                </c:pt>
                <c:pt idx="169">
                  <c:v>334</c:v>
                </c:pt>
                <c:pt idx="170">
                  <c:v>339</c:v>
                </c:pt>
                <c:pt idx="171">
                  <c:v>344</c:v>
                </c:pt>
                <c:pt idx="172">
                  <c:v>349</c:v>
                </c:pt>
                <c:pt idx="173">
                  <c:v>352</c:v>
                </c:pt>
                <c:pt idx="174">
                  <c:v>355</c:v>
                </c:pt>
                <c:pt idx="175">
                  <c:v>357</c:v>
                </c:pt>
                <c:pt idx="176">
                  <c:v>358</c:v>
                </c:pt>
                <c:pt idx="177">
                  <c:v>361</c:v>
                </c:pt>
                <c:pt idx="178">
                  <c:v>363</c:v>
                </c:pt>
                <c:pt idx="179">
                  <c:v>363</c:v>
                </c:pt>
                <c:pt idx="180">
                  <c:v>365</c:v>
                </c:pt>
                <c:pt idx="181">
                  <c:v>366</c:v>
                </c:pt>
                <c:pt idx="182">
                  <c:v>368</c:v>
                </c:pt>
                <c:pt idx="183">
                  <c:v>369</c:v>
                </c:pt>
                <c:pt idx="184">
                  <c:v>370</c:v>
                </c:pt>
                <c:pt idx="185">
                  <c:v>372</c:v>
                </c:pt>
                <c:pt idx="186">
                  <c:v>373</c:v>
                </c:pt>
                <c:pt idx="187">
                  <c:v>370</c:v>
                </c:pt>
                <c:pt idx="188">
                  <c:v>377</c:v>
                </c:pt>
                <c:pt idx="189">
                  <c:v>383</c:v>
                </c:pt>
                <c:pt idx="190">
                  <c:v>388</c:v>
                </c:pt>
                <c:pt idx="191">
                  <c:v>401</c:v>
                </c:pt>
                <c:pt idx="192">
                  <c:v>409</c:v>
                </c:pt>
                <c:pt idx="193">
                  <c:v>414</c:v>
                </c:pt>
                <c:pt idx="194">
                  <c:v>419</c:v>
                </c:pt>
                <c:pt idx="195">
                  <c:v>422</c:v>
                </c:pt>
                <c:pt idx="196">
                  <c:v>426</c:v>
                </c:pt>
                <c:pt idx="197">
                  <c:v>429</c:v>
                </c:pt>
                <c:pt idx="198">
                  <c:v>431</c:v>
                </c:pt>
                <c:pt idx="199">
                  <c:v>434</c:v>
                </c:pt>
                <c:pt idx="200">
                  <c:v>437</c:v>
                </c:pt>
                <c:pt idx="201">
                  <c:v>441</c:v>
                </c:pt>
                <c:pt idx="202">
                  <c:v>443</c:v>
                </c:pt>
                <c:pt idx="203">
                  <c:v>445</c:v>
                </c:pt>
                <c:pt idx="204">
                  <c:v>448</c:v>
                </c:pt>
                <c:pt idx="205">
                  <c:v>450</c:v>
                </c:pt>
                <c:pt idx="206">
                  <c:v>451</c:v>
                </c:pt>
                <c:pt idx="207">
                  <c:v>453</c:v>
                </c:pt>
                <c:pt idx="208">
                  <c:v>454</c:v>
                </c:pt>
                <c:pt idx="209">
                  <c:v>457</c:v>
                </c:pt>
                <c:pt idx="210">
                  <c:v>458</c:v>
                </c:pt>
                <c:pt idx="211">
                  <c:v>456</c:v>
                </c:pt>
                <c:pt idx="212">
                  <c:v>460</c:v>
                </c:pt>
                <c:pt idx="213">
                  <c:v>465</c:v>
                </c:pt>
                <c:pt idx="214">
                  <c:v>469</c:v>
                </c:pt>
                <c:pt idx="215">
                  <c:v>474</c:v>
                </c:pt>
                <c:pt idx="216">
                  <c:v>478</c:v>
                </c:pt>
                <c:pt idx="217">
                  <c:v>483</c:v>
                </c:pt>
                <c:pt idx="218">
                  <c:v>486</c:v>
                </c:pt>
                <c:pt idx="219">
                  <c:v>488</c:v>
                </c:pt>
                <c:pt idx="220">
                  <c:v>490</c:v>
                </c:pt>
                <c:pt idx="221">
                  <c:v>492</c:v>
                </c:pt>
                <c:pt idx="222">
                  <c:v>493</c:v>
                </c:pt>
                <c:pt idx="223">
                  <c:v>495</c:v>
                </c:pt>
                <c:pt idx="224">
                  <c:v>496</c:v>
                </c:pt>
                <c:pt idx="225">
                  <c:v>496</c:v>
                </c:pt>
                <c:pt idx="226">
                  <c:v>498</c:v>
                </c:pt>
                <c:pt idx="227">
                  <c:v>500</c:v>
                </c:pt>
                <c:pt idx="228">
                  <c:v>501</c:v>
                </c:pt>
                <c:pt idx="229">
                  <c:v>502</c:v>
                </c:pt>
                <c:pt idx="230">
                  <c:v>503</c:v>
                </c:pt>
                <c:pt idx="231">
                  <c:v>505</c:v>
                </c:pt>
                <c:pt idx="232">
                  <c:v>506</c:v>
                </c:pt>
                <c:pt idx="233">
                  <c:v>506</c:v>
                </c:pt>
                <c:pt idx="234">
                  <c:v>509</c:v>
                </c:pt>
                <c:pt idx="235">
                  <c:v>510</c:v>
                </c:pt>
                <c:pt idx="236">
                  <c:v>505</c:v>
                </c:pt>
                <c:pt idx="237">
                  <c:v>508</c:v>
                </c:pt>
                <c:pt idx="238">
                  <c:v>511</c:v>
                </c:pt>
                <c:pt idx="239">
                  <c:v>515</c:v>
                </c:pt>
                <c:pt idx="240">
                  <c:v>518</c:v>
                </c:pt>
                <c:pt idx="241">
                  <c:v>520</c:v>
                </c:pt>
                <c:pt idx="242">
                  <c:v>523</c:v>
                </c:pt>
                <c:pt idx="243">
                  <c:v>525</c:v>
                </c:pt>
                <c:pt idx="244">
                  <c:v>525</c:v>
                </c:pt>
                <c:pt idx="245">
                  <c:v>526</c:v>
                </c:pt>
                <c:pt idx="246">
                  <c:v>527</c:v>
                </c:pt>
                <c:pt idx="247">
                  <c:v>528</c:v>
                </c:pt>
                <c:pt idx="248">
                  <c:v>529</c:v>
                </c:pt>
                <c:pt idx="249">
                  <c:v>528</c:v>
                </c:pt>
                <c:pt idx="250">
                  <c:v>529</c:v>
                </c:pt>
                <c:pt idx="251">
                  <c:v>529</c:v>
                </c:pt>
                <c:pt idx="252">
                  <c:v>528</c:v>
                </c:pt>
                <c:pt idx="253">
                  <c:v>529</c:v>
                </c:pt>
                <c:pt idx="254">
                  <c:v>530</c:v>
                </c:pt>
                <c:pt idx="255">
                  <c:v>530</c:v>
                </c:pt>
                <c:pt idx="256">
                  <c:v>532</c:v>
                </c:pt>
                <c:pt idx="257">
                  <c:v>533</c:v>
                </c:pt>
                <c:pt idx="258">
                  <c:v>536</c:v>
                </c:pt>
                <c:pt idx="259">
                  <c:v>539</c:v>
                </c:pt>
                <c:pt idx="260">
                  <c:v>541</c:v>
                </c:pt>
                <c:pt idx="261">
                  <c:v>544</c:v>
                </c:pt>
                <c:pt idx="262">
                  <c:v>558</c:v>
                </c:pt>
                <c:pt idx="263">
                  <c:v>561</c:v>
                </c:pt>
                <c:pt idx="264">
                  <c:v>563</c:v>
                </c:pt>
                <c:pt idx="265">
                  <c:v>564</c:v>
                </c:pt>
                <c:pt idx="266">
                  <c:v>568</c:v>
                </c:pt>
                <c:pt idx="267">
                  <c:v>570</c:v>
                </c:pt>
                <c:pt idx="268">
                  <c:v>574</c:v>
                </c:pt>
                <c:pt idx="269">
                  <c:v>579</c:v>
                </c:pt>
                <c:pt idx="270">
                  <c:v>583</c:v>
                </c:pt>
                <c:pt idx="271">
                  <c:v>585</c:v>
                </c:pt>
                <c:pt idx="272">
                  <c:v>588</c:v>
                </c:pt>
                <c:pt idx="273">
                  <c:v>590</c:v>
                </c:pt>
                <c:pt idx="274">
                  <c:v>592</c:v>
                </c:pt>
                <c:pt idx="275">
                  <c:v>594</c:v>
                </c:pt>
                <c:pt idx="276">
                  <c:v>596</c:v>
                </c:pt>
                <c:pt idx="277">
                  <c:v>598</c:v>
                </c:pt>
                <c:pt idx="278">
                  <c:v>600</c:v>
                </c:pt>
                <c:pt idx="279">
                  <c:v>601</c:v>
                </c:pt>
                <c:pt idx="280">
                  <c:v>604</c:v>
                </c:pt>
                <c:pt idx="281">
                  <c:v>606</c:v>
                </c:pt>
                <c:pt idx="282">
                  <c:v>608</c:v>
                </c:pt>
                <c:pt idx="283">
                  <c:v>610</c:v>
                </c:pt>
                <c:pt idx="284">
                  <c:v>612</c:v>
                </c:pt>
                <c:pt idx="285">
                  <c:v>614</c:v>
                </c:pt>
                <c:pt idx="286">
                  <c:v>617</c:v>
                </c:pt>
                <c:pt idx="287">
                  <c:v>613</c:v>
                </c:pt>
                <c:pt idx="288">
                  <c:v>617</c:v>
                </c:pt>
                <c:pt idx="289">
                  <c:v>620</c:v>
                </c:pt>
                <c:pt idx="290">
                  <c:v>625</c:v>
                </c:pt>
                <c:pt idx="291">
                  <c:v>628</c:v>
                </c:pt>
                <c:pt idx="292">
                  <c:v>630</c:v>
                </c:pt>
                <c:pt idx="293">
                  <c:v>632</c:v>
                </c:pt>
                <c:pt idx="294">
                  <c:v>633</c:v>
                </c:pt>
                <c:pt idx="295">
                  <c:v>634</c:v>
                </c:pt>
                <c:pt idx="296">
                  <c:v>635</c:v>
                </c:pt>
                <c:pt idx="297">
                  <c:v>636</c:v>
                </c:pt>
                <c:pt idx="298">
                  <c:v>637</c:v>
                </c:pt>
                <c:pt idx="299">
                  <c:v>639</c:v>
                </c:pt>
                <c:pt idx="300">
                  <c:v>640</c:v>
                </c:pt>
                <c:pt idx="301">
                  <c:v>641</c:v>
                </c:pt>
                <c:pt idx="302">
                  <c:v>642</c:v>
                </c:pt>
                <c:pt idx="303">
                  <c:v>644</c:v>
                </c:pt>
                <c:pt idx="304">
                  <c:v>646</c:v>
                </c:pt>
                <c:pt idx="305">
                  <c:v>647</c:v>
                </c:pt>
                <c:pt idx="306">
                  <c:v>648</c:v>
                </c:pt>
                <c:pt idx="307">
                  <c:v>651</c:v>
                </c:pt>
                <c:pt idx="308">
                  <c:v>653</c:v>
                </c:pt>
                <c:pt idx="309">
                  <c:v>656</c:v>
                </c:pt>
                <c:pt idx="310">
                  <c:v>659</c:v>
                </c:pt>
                <c:pt idx="311">
                  <c:v>658</c:v>
                </c:pt>
                <c:pt idx="312">
                  <c:v>664</c:v>
                </c:pt>
                <c:pt idx="313">
                  <c:v>669</c:v>
                </c:pt>
                <c:pt idx="314">
                  <c:v>674</c:v>
                </c:pt>
                <c:pt idx="315">
                  <c:v>678</c:v>
                </c:pt>
                <c:pt idx="316">
                  <c:v>681</c:v>
                </c:pt>
                <c:pt idx="317">
                  <c:v>683</c:v>
                </c:pt>
                <c:pt idx="318">
                  <c:v>684</c:v>
                </c:pt>
                <c:pt idx="319">
                  <c:v>685</c:v>
                </c:pt>
                <c:pt idx="320">
                  <c:v>686</c:v>
                </c:pt>
                <c:pt idx="321">
                  <c:v>688</c:v>
                </c:pt>
                <c:pt idx="322">
                  <c:v>688</c:v>
                </c:pt>
                <c:pt idx="323">
                  <c:v>690</c:v>
                </c:pt>
                <c:pt idx="324">
                  <c:v>691</c:v>
                </c:pt>
                <c:pt idx="325">
                  <c:v>692</c:v>
                </c:pt>
                <c:pt idx="326">
                  <c:v>694</c:v>
                </c:pt>
                <c:pt idx="327">
                  <c:v>695</c:v>
                </c:pt>
                <c:pt idx="328">
                  <c:v>697</c:v>
                </c:pt>
                <c:pt idx="329">
                  <c:v>698</c:v>
                </c:pt>
                <c:pt idx="330">
                  <c:v>699</c:v>
                </c:pt>
                <c:pt idx="331">
                  <c:v>702</c:v>
                </c:pt>
                <c:pt idx="332">
                  <c:v>703</c:v>
                </c:pt>
                <c:pt idx="333">
                  <c:v>706</c:v>
                </c:pt>
                <c:pt idx="334">
                  <c:v>705</c:v>
                </c:pt>
                <c:pt idx="335">
                  <c:v>710</c:v>
                </c:pt>
                <c:pt idx="336">
                  <c:v>688</c:v>
                </c:pt>
                <c:pt idx="337">
                  <c:v>694</c:v>
                </c:pt>
                <c:pt idx="338">
                  <c:v>704</c:v>
                </c:pt>
                <c:pt idx="339">
                  <c:v>714</c:v>
                </c:pt>
                <c:pt idx="340">
                  <c:v>721</c:v>
                </c:pt>
                <c:pt idx="341">
                  <c:v>727</c:v>
                </c:pt>
                <c:pt idx="342">
                  <c:v>732</c:v>
                </c:pt>
                <c:pt idx="343">
                  <c:v>735</c:v>
                </c:pt>
                <c:pt idx="344">
                  <c:v>737</c:v>
                </c:pt>
                <c:pt idx="345">
                  <c:v>740</c:v>
                </c:pt>
                <c:pt idx="346">
                  <c:v>742</c:v>
                </c:pt>
                <c:pt idx="347">
                  <c:v>744</c:v>
                </c:pt>
                <c:pt idx="348">
                  <c:v>745</c:v>
                </c:pt>
                <c:pt idx="349">
                  <c:v>747</c:v>
                </c:pt>
                <c:pt idx="350">
                  <c:v>748</c:v>
                </c:pt>
                <c:pt idx="351">
                  <c:v>750</c:v>
                </c:pt>
                <c:pt idx="352">
                  <c:v>751</c:v>
                </c:pt>
                <c:pt idx="353">
                  <c:v>753</c:v>
                </c:pt>
                <c:pt idx="354">
                  <c:v>750</c:v>
                </c:pt>
                <c:pt idx="355">
                  <c:v>755</c:v>
                </c:pt>
                <c:pt idx="356">
                  <c:v>761</c:v>
                </c:pt>
                <c:pt idx="357">
                  <c:v>765</c:v>
                </c:pt>
                <c:pt idx="358">
                  <c:v>667</c:v>
                </c:pt>
                <c:pt idx="359">
                  <c:v>687</c:v>
                </c:pt>
                <c:pt idx="360">
                  <c:v>693</c:v>
                </c:pt>
                <c:pt idx="361">
                  <c:v>698</c:v>
                </c:pt>
                <c:pt idx="362">
                  <c:v>703</c:v>
                </c:pt>
                <c:pt idx="363">
                  <c:v>702</c:v>
                </c:pt>
                <c:pt idx="364">
                  <c:v>706</c:v>
                </c:pt>
                <c:pt idx="365">
                  <c:v>710</c:v>
                </c:pt>
                <c:pt idx="366">
                  <c:v>712</c:v>
                </c:pt>
                <c:pt idx="367">
                  <c:v>714</c:v>
                </c:pt>
                <c:pt idx="368">
                  <c:v>716</c:v>
                </c:pt>
                <c:pt idx="369">
                  <c:v>717</c:v>
                </c:pt>
                <c:pt idx="370">
                  <c:v>718</c:v>
                </c:pt>
                <c:pt idx="371">
                  <c:v>719</c:v>
                </c:pt>
                <c:pt idx="372">
                  <c:v>720</c:v>
                </c:pt>
                <c:pt idx="373">
                  <c:v>721</c:v>
                </c:pt>
                <c:pt idx="374">
                  <c:v>722</c:v>
                </c:pt>
                <c:pt idx="375">
                  <c:v>724</c:v>
                </c:pt>
                <c:pt idx="376">
                  <c:v>725</c:v>
                </c:pt>
                <c:pt idx="377">
                  <c:v>725</c:v>
                </c:pt>
                <c:pt idx="378">
                  <c:v>727</c:v>
                </c:pt>
                <c:pt idx="379">
                  <c:v>729</c:v>
                </c:pt>
                <c:pt idx="380">
                  <c:v>731</c:v>
                </c:pt>
                <c:pt idx="381">
                  <c:v>733</c:v>
                </c:pt>
                <c:pt idx="382">
                  <c:v>736</c:v>
                </c:pt>
                <c:pt idx="383">
                  <c:v>739</c:v>
                </c:pt>
                <c:pt idx="384">
                  <c:v>744</c:v>
                </c:pt>
                <c:pt idx="385">
                  <c:v>750</c:v>
                </c:pt>
                <c:pt idx="386">
                  <c:v>757</c:v>
                </c:pt>
                <c:pt idx="387">
                  <c:v>761</c:v>
                </c:pt>
                <c:pt idx="388">
                  <c:v>761</c:v>
                </c:pt>
                <c:pt idx="389">
                  <c:v>761</c:v>
                </c:pt>
                <c:pt idx="390">
                  <c:v>762</c:v>
                </c:pt>
                <c:pt idx="391">
                  <c:v>762</c:v>
                </c:pt>
                <c:pt idx="392">
                  <c:v>763</c:v>
                </c:pt>
                <c:pt idx="393">
                  <c:v>763</c:v>
                </c:pt>
                <c:pt idx="394">
                  <c:v>764</c:v>
                </c:pt>
                <c:pt idx="395">
                  <c:v>765</c:v>
                </c:pt>
                <c:pt idx="396">
                  <c:v>765</c:v>
                </c:pt>
                <c:pt idx="397">
                  <c:v>766</c:v>
                </c:pt>
                <c:pt idx="398">
                  <c:v>767</c:v>
                </c:pt>
                <c:pt idx="399">
                  <c:v>768</c:v>
                </c:pt>
                <c:pt idx="400">
                  <c:v>769</c:v>
                </c:pt>
                <c:pt idx="401">
                  <c:v>770</c:v>
                </c:pt>
                <c:pt idx="402">
                  <c:v>771</c:v>
                </c:pt>
                <c:pt idx="403">
                  <c:v>768</c:v>
                </c:pt>
                <c:pt idx="404">
                  <c:v>767</c:v>
                </c:pt>
                <c:pt idx="405">
                  <c:v>768</c:v>
                </c:pt>
                <c:pt idx="406">
                  <c:v>770</c:v>
                </c:pt>
                <c:pt idx="407">
                  <c:v>772</c:v>
                </c:pt>
                <c:pt idx="408">
                  <c:v>774</c:v>
                </c:pt>
                <c:pt idx="409">
                  <c:v>770</c:v>
                </c:pt>
                <c:pt idx="410">
                  <c:v>774</c:v>
                </c:pt>
                <c:pt idx="411">
                  <c:v>777</c:v>
                </c:pt>
                <c:pt idx="412">
                  <c:v>781</c:v>
                </c:pt>
                <c:pt idx="413">
                  <c:v>784</c:v>
                </c:pt>
                <c:pt idx="414">
                  <c:v>786</c:v>
                </c:pt>
                <c:pt idx="415">
                  <c:v>788</c:v>
                </c:pt>
                <c:pt idx="416">
                  <c:v>789</c:v>
                </c:pt>
                <c:pt idx="417">
                  <c:v>791</c:v>
                </c:pt>
                <c:pt idx="418">
                  <c:v>791</c:v>
                </c:pt>
                <c:pt idx="419">
                  <c:v>792</c:v>
                </c:pt>
                <c:pt idx="420">
                  <c:v>793</c:v>
                </c:pt>
                <c:pt idx="421">
                  <c:v>794</c:v>
                </c:pt>
                <c:pt idx="422">
                  <c:v>795</c:v>
                </c:pt>
                <c:pt idx="423">
                  <c:v>796</c:v>
                </c:pt>
                <c:pt idx="424">
                  <c:v>797</c:v>
                </c:pt>
                <c:pt idx="425">
                  <c:v>798</c:v>
                </c:pt>
                <c:pt idx="426">
                  <c:v>799</c:v>
                </c:pt>
                <c:pt idx="427">
                  <c:v>801</c:v>
                </c:pt>
                <c:pt idx="428">
                  <c:v>802</c:v>
                </c:pt>
                <c:pt idx="429">
                  <c:v>803</c:v>
                </c:pt>
                <c:pt idx="430">
                  <c:v>808</c:v>
                </c:pt>
                <c:pt idx="431">
                  <c:v>812</c:v>
                </c:pt>
                <c:pt idx="432">
                  <c:v>846</c:v>
                </c:pt>
                <c:pt idx="433">
                  <c:v>852</c:v>
                </c:pt>
                <c:pt idx="434">
                  <c:v>855</c:v>
                </c:pt>
                <c:pt idx="435">
                  <c:v>859</c:v>
                </c:pt>
                <c:pt idx="436">
                  <c:v>861</c:v>
                </c:pt>
                <c:pt idx="437">
                  <c:v>863</c:v>
                </c:pt>
                <c:pt idx="438">
                  <c:v>866</c:v>
                </c:pt>
                <c:pt idx="439">
                  <c:v>868</c:v>
                </c:pt>
                <c:pt idx="440">
                  <c:v>868</c:v>
                </c:pt>
                <c:pt idx="441">
                  <c:v>870</c:v>
                </c:pt>
                <c:pt idx="442">
                  <c:v>872</c:v>
                </c:pt>
                <c:pt idx="443">
                  <c:v>873</c:v>
                </c:pt>
                <c:pt idx="444">
                  <c:v>874</c:v>
                </c:pt>
                <c:pt idx="445">
                  <c:v>874</c:v>
                </c:pt>
                <c:pt idx="446">
                  <c:v>875</c:v>
                </c:pt>
                <c:pt idx="447">
                  <c:v>876</c:v>
                </c:pt>
                <c:pt idx="448">
                  <c:v>876</c:v>
                </c:pt>
                <c:pt idx="449">
                  <c:v>877</c:v>
                </c:pt>
                <c:pt idx="450">
                  <c:v>878</c:v>
                </c:pt>
                <c:pt idx="451">
                  <c:v>879</c:v>
                </c:pt>
                <c:pt idx="452">
                  <c:v>880</c:v>
                </c:pt>
                <c:pt idx="453">
                  <c:v>882</c:v>
                </c:pt>
                <c:pt idx="454">
                  <c:v>884</c:v>
                </c:pt>
                <c:pt idx="455">
                  <c:v>886</c:v>
                </c:pt>
                <c:pt idx="456">
                  <c:v>888</c:v>
                </c:pt>
                <c:pt idx="457">
                  <c:v>891</c:v>
                </c:pt>
                <c:pt idx="458">
                  <c:v>894</c:v>
                </c:pt>
                <c:pt idx="459">
                  <c:v>895</c:v>
                </c:pt>
                <c:pt idx="460">
                  <c:v>898</c:v>
                </c:pt>
                <c:pt idx="461">
                  <c:v>899</c:v>
                </c:pt>
                <c:pt idx="462">
                  <c:v>899</c:v>
                </c:pt>
                <c:pt idx="463">
                  <c:v>901</c:v>
                </c:pt>
                <c:pt idx="464">
                  <c:v>901</c:v>
                </c:pt>
                <c:pt idx="465">
                  <c:v>902</c:v>
                </c:pt>
                <c:pt idx="466">
                  <c:v>902</c:v>
                </c:pt>
                <c:pt idx="467">
                  <c:v>903</c:v>
                </c:pt>
                <c:pt idx="468">
                  <c:v>903</c:v>
                </c:pt>
                <c:pt idx="469">
                  <c:v>904</c:v>
                </c:pt>
                <c:pt idx="470">
                  <c:v>905</c:v>
                </c:pt>
                <c:pt idx="471">
                  <c:v>906</c:v>
                </c:pt>
                <c:pt idx="472">
                  <c:v>906</c:v>
                </c:pt>
                <c:pt idx="473">
                  <c:v>907</c:v>
                </c:pt>
                <c:pt idx="474">
                  <c:v>909</c:v>
                </c:pt>
                <c:pt idx="475">
                  <c:v>909</c:v>
                </c:pt>
                <c:pt idx="476">
                  <c:v>911</c:v>
                </c:pt>
                <c:pt idx="477">
                  <c:v>913</c:v>
                </c:pt>
                <c:pt idx="478">
                  <c:v>915</c:v>
                </c:pt>
                <c:pt idx="479">
                  <c:v>918</c:v>
                </c:pt>
                <c:pt idx="480">
                  <c:v>920</c:v>
                </c:pt>
                <c:pt idx="481">
                  <c:v>923</c:v>
                </c:pt>
                <c:pt idx="482">
                  <c:v>927</c:v>
                </c:pt>
                <c:pt idx="483">
                  <c:v>929</c:v>
                </c:pt>
                <c:pt idx="484">
                  <c:v>931</c:v>
                </c:pt>
                <c:pt idx="485">
                  <c:v>933</c:v>
                </c:pt>
                <c:pt idx="486">
                  <c:v>935</c:v>
                </c:pt>
                <c:pt idx="487">
                  <c:v>936</c:v>
                </c:pt>
                <c:pt idx="488">
                  <c:v>938</c:v>
                </c:pt>
                <c:pt idx="489">
                  <c:v>938</c:v>
                </c:pt>
                <c:pt idx="490">
                  <c:v>940</c:v>
                </c:pt>
                <c:pt idx="491">
                  <c:v>941</c:v>
                </c:pt>
                <c:pt idx="492">
                  <c:v>941</c:v>
                </c:pt>
                <c:pt idx="493">
                  <c:v>943</c:v>
                </c:pt>
                <c:pt idx="494">
                  <c:v>944</c:v>
                </c:pt>
                <c:pt idx="495">
                  <c:v>945</c:v>
                </c:pt>
                <c:pt idx="496">
                  <c:v>946</c:v>
                </c:pt>
                <c:pt idx="497">
                  <c:v>947</c:v>
                </c:pt>
                <c:pt idx="498">
                  <c:v>948</c:v>
                </c:pt>
                <c:pt idx="499">
                  <c:v>951</c:v>
                </c:pt>
                <c:pt idx="500">
                  <c:v>953</c:v>
                </c:pt>
                <c:pt idx="501">
                  <c:v>955</c:v>
                </c:pt>
                <c:pt idx="502">
                  <c:v>956</c:v>
                </c:pt>
                <c:pt idx="503">
                  <c:v>959</c:v>
                </c:pt>
                <c:pt idx="504">
                  <c:v>961</c:v>
                </c:pt>
                <c:pt idx="505">
                  <c:v>989</c:v>
                </c:pt>
                <c:pt idx="506">
                  <c:v>996</c:v>
                </c:pt>
                <c:pt idx="507">
                  <c:v>1001</c:v>
                </c:pt>
                <c:pt idx="508">
                  <c:v>1004</c:v>
                </c:pt>
                <c:pt idx="509">
                  <c:v>1007</c:v>
                </c:pt>
                <c:pt idx="510">
                  <c:v>1009</c:v>
                </c:pt>
                <c:pt idx="511">
                  <c:v>1011</c:v>
                </c:pt>
                <c:pt idx="512">
                  <c:v>1013</c:v>
                </c:pt>
                <c:pt idx="513">
                  <c:v>1015</c:v>
                </c:pt>
                <c:pt idx="514">
                  <c:v>1016</c:v>
                </c:pt>
                <c:pt idx="515">
                  <c:v>1018</c:v>
                </c:pt>
                <c:pt idx="516">
                  <c:v>1019</c:v>
                </c:pt>
                <c:pt idx="517">
                  <c:v>1020</c:v>
                </c:pt>
                <c:pt idx="518">
                  <c:v>1021</c:v>
                </c:pt>
                <c:pt idx="519">
                  <c:v>1022</c:v>
                </c:pt>
                <c:pt idx="520">
                  <c:v>1023</c:v>
                </c:pt>
                <c:pt idx="521">
                  <c:v>1024</c:v>
                </c:pt>
                <c:pt idx="522">
                  <c:v>1025</c:v>
                </c:pt>
                <c:pt idx="523">
                  <c:v>1027</c:v>
                </c:pt>
                <c:pt idx="524">
                  <c:v>1028</c:v>
                </c:pt>
                <c:pt idx="525">
                  <c:v>1028</c:v>
                </c:pt>
                <c:pt idx="526">
                  <c:v>1030</c:v>
                </c:pt>
                <c:pt idx="527">
                  <c:v>1033</c:v>
                </c:pt>
                <c:pt idx="528">
                  <c:v>1035</c:v>
                </c:pt>
                <c:pt idx="529">
                  <c:v>1038</c:v>
                </c:pt>
                <c:pt idx="530">
                  <c:v>1041</c:v>
                </c:pt>
                <c:pt idx="531">
                  <c:v>1043</c:v>
                </c:pt>
                <c:pt idx="532">
                  <c:v>1045</c:v>
                </c:pt>
                <c:pt idx="533">
                  <c:v>1046</c:v>
                </c:pt>
                <c:pt idx="534">
                  <c:v>1048</c:v>
                </c:pt>
                <c:pt idx="535">
                  <c:v>1049</c:v>
                </c:pt>
                <c:pt idx="536">
                  <c:v>1049</c:v>
                </c:pt>
                <c:pt idx="537">
                  <c:v>1051</c:v>
                </c:pt>
                <c:pt idx="538">
                  <c:v>1051</c:v>
                </c:pt>
                <c:pt idx="539">
                  <c:v>1052</c:v>
                </c:pt>
                <c:pt idx="540">
                  <c:v>1053</c:v>
                </c:pt>
                <c:pt idx="541">
                  <c:v>1054</c:v>
                </c:pt>
                <c:pt idx="542">
                  <c:v>1055</c:v>
                </c:pt>
                <c:pt idx="543">
                  <c:v>1056</c:v>
                </c:pt>
                <c:pt idx="544">
                  <c:v>1057</c:v>
                </c:pt>
                <c:pt idx="545">
                  <c:v>1059</c:v>
                </c:pt>
                <c:pt idx="546">
                  <c:v>1060</c:v>
                </c:pt>
                <c:pt idx="547">
                  <c:v>1061</c:v>
                </c:pt>
                <c:pt idx="548">
                  <c:v>1063</c:v>
                </c:pt>
                <c:pt idx="549">
                  <c:v>1065</c:v>
                </c:pt>
                <c:pt idx="550">
                  <c:v>1067</c:v>
                </c:pt>
                <c:pt idx="551">
                  <c:v>1068</c:v>
                </c:pt>
                <c:pt idx="552">
                  <c:v>1070</c:v>
                </c:pt>
                <c:pt idx="553">
                  <c:v>1072</c:v>
                </c:pt>
                <c:pt idx="554">
                  <c:v>1075</c:v>
                </c:pt>
                <c:pt idx="555">
                  <c:v>1076</c:v>
                </c:pt>
                <c:pt idx="556">
                  <c:v>1079</c:v>
                </c:pt>
                <c:pt idx="557">
                  <c:v>1081</c:v>
                </c:pt>
                <c:pt idx="558">
                  <c:v>1082</c:v>
                </c:pt>
                <c:pt idx="559">
                  <c:v>1083</c:v>
                </c:pt>
                <c:pt idx="560">
                  <c:v>1085</c:v>
                </c:pt>
                <c:pt idx="561">
                  <c:v>1086</c:v>
                </c:pt>
                <c:pt idx="562">
                  <c:v>1087</c:v>
                </c:pt>
                <c:pt idx="563">
                  <c:v>1088</c:v>
                </c:pt>
                <c:pt idx="564">
                  <c:v>1089</c:v>
                </c:pt>
                <c:pt idx="565">
                  <c:v>1091</c:v>
                </c:pt>
                <c:pt idx="566">
                  <c:v>1091</c:v>
                </c:pt>
                <c:pt idx="567">
                  <c:v>1093</c:v>
                </c:pt>
                <c:pt idx="568">
                  <c:v>1094</c:v>
                </c:pt>
                <c:pt idx="569">
                  <c:v>1095</c:v>
                </c:pt>
                <c:pt idx="570">
                  <c:v>1097</c:v>
                </c:pt>
                <c:pt idx="571">
                  <c:v>1099</c:v>
                </c:pt>
                <c:pt idx="572">
                  <c:v>1101</c:v>
                </c:pt>
                <c:pt idx="573">
                  <c:v>1103</c:v>
                </c:pt>
                <c:pt idx="574">
                  <c:v>1105</c:v>
                </c:pt>
                <c:pt idx="575">
                  <c:v>1108</c:v>
                </c:pt>
                <c:pt idx="576">
                  <c:v>1110</c:v>
                </c:pt>
                <c:pt idx="577">
                  <c:v>1112</c:v>
                </c:pt>
                <c:pt idx="578">
                  <c:v>1116</c:v>
                </c:pt>
                <c:pt idx="579">
                  <c:v>1119</c:v>
                </c:pt>
                <c:pt idx="580">
                  <c:v>1120</c:v>
                </c:pt>
                <c:pt idx="581">
                  <c:v>1122</c:v>
                </c:pt>
                <c:pt idx="582">
                  <c:v>1122</c:v>
                </c:pt>
                <c:pt idx="583">
                  <c:v>1124</c:v>
                </c:pt>
                <c:pt idx="584">
                  <c:v>1125</c:v>
                </c:pt>
                <c:pt idx="585">
                  <c:v>1126</c:v>
                </c:pt>
                <c:pt idx="586">
                  <c:v>1128</c:v>
                </c:pt>
                <c:pt idx="587">
                  <c:v>1129</c:v>
                </c:pt>
                <c:pt idx="588">
                  <c:v>1129</c:v>
                </c:pt>
                <c:pt idx="589">
                  <c:v>1131</c:v>
                </c:pt>
                <c:pt idx="590">
                  <c:v>1132</c:v>
                </c:pt>
                <c:pt idx="591">
                  <c:v>1133</c:v>
                </c:pt>
                <c:pt idx="592">
                  <c:v>1133</c:v>
                </c:pt>
                <c:pt idx="593">
                  <c:v>1134</c:v>
                </c:pt>
                <c:pt idx="594">
                  <c:v>1136</c:v>
                </c:pt>
                <c:pt idx="595">
                  <c:v>1137</c:v>
                </c:pt>
                <c:pt idx="596">
                  <c:v>1138</c:v>
                </c:pt>
                <c:pt idx="597">
                  <c:v>1140</c:v>
                </c:pt>
                <c:pt idx="598">
                  <c:v>1142</c:v>
                </c:pt>
                <c:pt idx="599">
                  <c:v>1175</c:v>
                </c:pt>
                <c:pt idx="600">
                  <c:v>1189</c:v>
                </c:pt>
                <c:pt idx="601">
                  <c:v>1195</c:v>
                </c:pt>
                <c:pt idx="602">
                  <c:v>1198</c:v>
                </c:pt>
                <c:pt idx="603">
                  <c:v>1201</c:v>
                </c:pt>
                <c:pt idx="604">
                  <c:v>1202</c:v>
                </c:pt>
                <c:pt idx="605">
                  <c:v>1203</c:v>
                </c:pt>
                <c:pt idx="606">
                  <c:v>1204</c:v>
                </c:pt>
                <c:pt idx="607">
                  <c:v>1204</c:v>
                </c:pt>
                <c:pt idx="608">
                  <c:v>1204</c:v>
                </c:pt>
                <c:pt idx="609">
                  <c:v>1205</c:v>
                </c:pt>
                <c:pt idx="610">
                  <c:v>1204</c:v>
                </c:pt>
                <c:pt idx="611">
                  <c:v>1206</c:v>
                </c:pt>
                <c:pt idx="612">
                  <c:v>1206</c:v>
                </c:pt>
                <c:pt idx="613">
                  <c:v>1207</c:v>
                </c:pt>
                <c:pt idx="614">
                  <c:v>1208</c:v>
                </c:pt>
                <c:pt idx="615">
                  <c:v>1208</c:v>
                </c:pt>
                <c:pt idx="616">
                  <c:v>1209</c:v>
                </c:pt>
                <c:pt idx="617">
                  <c:v>1210</c:v>
                </c:pt>
                <c:pt idx="618">
                  <c:v>1210</c:v>
                </c:pt>
                <c:pt idx="619">
                  <c:v>1212</c:v>
                </c:pt>
                <c:pt idx="620">
                  <c:v>1213</c:v>
                </c:pt>
                <c:pt idx="621">
                  <c:v>1213</c:v>
                </c:pt>
                <c:pt idx="622">
                  <c:v>1215</c:v>
                </c:pt>
                <c:pt idx="623">
                  <c:v>1216</c:v>
                </c:pt>
                <c:pt idx="624">
                  <c:v>1218</c:v>
                </c:pt>
                <c:pt idx="625">
                  <c:v>1219</c:v>
                </c:pt>
                <c:pt idx="626">
                  <c:v>1221</c:v>
                </c:pt>
                <c:pt idx="627">
                  <c:v>1222</c:v>
                </c:pt>
                <c:pt idx="628">
                  <c:v>1223</c:v>
                </c:pt>
                <c:pt idx="629">
                  <c:v>1223</c:v>
                </c:pt>
                <c:pt idx="630">
                  <c:v>1224</c:v>
                </c:pt>
                <c:pt idx="631">
                  <c:v>1225</c:v>
                </c:pt>
                <c:pt idx="632">
                  <c:v>1225</c:v>
                </c:pt>
                <c:pt idx="633">
                  <c:v>1226</c:v>
                </c:pt>
                <c:pt idx="634">
                  <c:v>1227</c:v>
                </c:pt>
                <c:pt idx="635">
                  <c:v>1227</c:v>
                </c:pt>
                <c:pt idx="636">
                  <c:v>1228</c:v>
                </c:pt>
                <c:pt idx="637">
                  <c:v>1228</c:v>
                </c:pt>
                <c:pt idx="638">
                  <c:v>1229</c:v>
                </c:pt>
                <c:pt idx="639">
                  <c:v>1229</c:v>
                </c:pt>
                <c:pt idx="640">
                  <c:v>1229</c:v>
                </c:pt>
                <c:pt idx="641">
                  <c:v>1230</c:v>
                </c:pt>
                <c:pt idx="642">
                  <c:v>1231</c:v>
                </c:pt>
                <c:pt idx="643">
                  <c:v>1231</c:v>
                </c:pt>
                <c:pt idx="644">
                  <c:v>1233</c:v>
                </c:pt>
                <c:pt idx="645">
                  <c:v>1233</c:v>
                </c:pt>
                <c:pt idx="646">
                  <c:v>1234</c:v>
                </c:pt>
                <c:pt idx="647">
                  <c:v>1235</c:v>
                </c:pt>
                <c:pt idx="648">
                  <c:v>1233</c:v>
                </c:pt>
                <c:pt idx="649">
                  <c:v>1235</c:v>
                </c:pt>
                <c:pt idx="650">
                  <c:v>1238</c:v>
                </c:pt>
                <c:pt idx="651">
                  <c:v>1239</c:v>
                </c:pt>
                <c:pt idx="652">
                  <c:v>1241</c:v>
                </c:pt>
                <c:pt idx="653">
                  <c:v>1242</c:v>
                </c:pt>
                <c:pt idx="654">
                  <c:v>1242</c:v>
                </c:pt>
                <c:pt idx="655">
                  <c:v>1243</c:v>
                </c:pt>
                <c:pt idx="656">
                  <c:v>1243</c:v>
                </c:pt>
                <c:pt idx="657">
                  <c:v>1244</c:v>
                </c:pt>
                <c:pt idx="658">
                  <c:v>1245</c:v>
                </c:pt>
                <c:pt idx="659">
                  <c:v>1244</c:v>
                </c:pt>
                <c:pt idx="660">
                  <c:v>1245</c:v>
                </c:pt>
                <c:pt idx="661">
                  <c:v>1246</c:v>
                </c:pt>
                <c:pt idx="662">
                  <c:v>1246</c:v>
                </c:pt>
                <c:pt idx="663">
                  <c:v>1247</c:v>
                </c:pt>
                <c:pt idx="664">
                  <c:v>1247</c:v>
                </c:pt>
                <c:pt idx="665">
                  <c:v>1248</c:v>
                </c:pt>
                <c:pt idx="666">
                  <c:v>1249</c:v>
                </c:pt>
                <c:pt idx="667">
                  <c:v>1249</c:v>
                </c:pt>
                <c:pt idx="668">
                  <c:v>1251</c:v>
                </c:pt>
                <c:pt idx="669">
                  <c:v>1252</c:v>
                </c:pt>
                <c:pt idx="670">
                  <c:v>1253</c:v>
                </c:pt>
                <c:pt idx="671">
                  <c:v>125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C8B-524C-A18C-3E93F3A5EA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40487168"/>
        <c:axId val="1842619984"/>
      </c:scatterChart>
      <c:valAx>
        <c:axId val="18404871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ime [days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2619984"/>
        <c:crosses val="autoZero"/>
        <c:crossBetween val="midCat"/>
      </c:valAx>
      <c:valAx>
        <c:axId val="1842619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ssure [hPa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04871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rgbClr val="D9D9D9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parison Average Unscreened</a:t>
            </a:r>
            <a:r>
              <a:rPr lang="en-US" baseline="0" dirty="0"/>
              <a:t> Vs. Screened Cow Manure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Average Unscreened</c:v>
          </c:tx>
          <c:spPr>
            <a:ln w="3492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V average screened vs. unscreen'!$A$5:$A$337</c:f>
              <c:numCache>
                <c:formatCode>General</c:formatCode>
                <c:ptCount val="333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</c:numCache>
            </c:numRef>
          </c:xVal>
          <c:yVal>
            <c:numRef>
              <c:f>'V average screened vs. unscreen'!$E$7:$E$337</c:f>
              <c:numCache>
                <c:formatCode>General</c:formatCode>
                <c:ptCount val="331"/>
                <c:pt idx="0">
                  <c:v>2.8432482127145914E-2</c:v>
                </c:pt>
                <c:pt idx="1">
                  <c:v>4.6723481779329779E-2</c:v>
                </c:pt>
                <c:pt idx="2">
                  <c:v>5.6205370507288639E-2</c:v>
                </c:pt>
                <c:pt idx="3">
                  <c:v>6.3819505187229952E-2</c:v>
                </c:pt>
                <c:pt idx="4">
                  <c:v>6.9164407209905659E-2</c:v>
                </c:pt>
                <c:pt idx="5">
                  <c:v>7.2706630936424529E-2</c:v>
                </c:pt>
                <c:pt idx="6">
                  <c:v>7.5794320471058357E-2</c:v>
                </c:pt>
                <c:pt idx="7">
                  <c:v>7.7555759376850275E-2</c:v>
                </c:pt>
                <c:pt idx="8">
                  <c:v>7.887758815264595E-2</c:v>
                </c:pt>
                <c:pt idx="9">
                  <c:v>8.107013290723325E-2</c:v>
                </c:pt>
                <c:pt idx="10">
                  <c:v>8.4122746973397194E-2</c:v>
                </c:pt>
                <c:pt idx="11">
                  <c:v>8.4130834795553971E-2</c:v>
                </c:pt>
                <c:pt idx="12">
                  <c:v>8.5444945720822632E-2</c:v>
                </c:pt>
                <c:pt idx="13">
                  <c:v>8.5877962861777873E-2</c:v>
                </c:pt>
                <c:pt idx="14">
                  <c:v>9.2807818189589941E-2</c:v>
                </c:pt>
                <c:pt idx="15">
                  <c:v>0.10891532239004284</c:v>
                </c:pt>
                <c:pt idx="16">
                  <c:v>0.11489629224294071</c:v>
                </c:pt>
                <c:pt idx="17">
                  <c:v>0.11858013497340683</c:v>
                </c:pt>
                <c:pt idx="18">
                  <c:v>0.12133431299395632</c:v>
                </c:pt>
                <c:pt idx="19">
                  <c:v>0.12231269238857936</c:v>
                </c:pt>
                <c:pt idx="20">
                  <c:v>0.12414282116432421</c:v>
                </c:pt>
                <c:pt idx="21">
                  <c:v>0.12736951968105129</c:v>
                </c:pt>
                <c:pt idx="22">
                  <c:v>0.12919073371490697</c:v>
                </c:pt>
                <c:pt idx="23">
                  <c:v>0.12143658955398315</c:v>
                </c:pt>
                <c:pt idx="24">
                  <c:v>0.1201699472851968</c:v>
                </c:pt>
                <c:pt idx="25">
                  <c:v>0.12436153995821377</c:v>
                </c:pt>
                <c:pt idx="26">
                  <c:v>0.12802359888041764</c:v>
                </c:pt>
                <c:pt idx="27">
                  <c:v>0.13031729504583223</c:v>
                </c:pt>
                <c:pt idx="28">
                  <c:v>0.13260592234453389</c:v>
                </c:pt>
                <c:pt idx="29">
                  <c:v>0.13353755872223055</c:v>
                </c:pt>
                <c:pt idx="30">
                  <c:v>0.13488968234717846</c:v>
                </c:pt>
                <c:pt idx="31">
                  <c:v>0.13581930922148416</c:v>
                </c:pt>
                <c:pt idx="32">
                  <c:v>0.13674810298071044</c:v>
                </c:pt>
                <c:pt idx="33">
                  <c:v>0.13716875376420901</c:v>
                </c:pt>
                <c:pt idx="34">
                  <c:v>0.13809637987771184</c:v>
                </c:pt>
                <c:pt idx="35">
                  <c:v>0.13961683176707684</c:v>
                </c:pt>
                <c:pt idx="36">
                  <c:v>0.14045612032984603</c:v>
                </c:pt>
                <c:pt idx="37">
                  <c:v>0.14138077102290347</c:v>
                </c:pt>
                <c:pt idx="38">
                  <c:v>0.14179974697448811</c:v>
                </c:pt>
                <c:pt idx="39">
                  <c:v>0.14179974697448811</c:v>
                </c:pt>
                <c:pt idx="40">
                  <c:v>0.14138043712431281</c:v>
                </c:pt>
                <c:pt idx="41">
                  <c:v>0.14138043712431281</c:v>
                </c:pt>
                <c:pt idx="42">
                  <c:v>0.14129456247442285</c:v>
                </c:pt>
                <c:pt idx="43">
                  <c:v>0.14239127515289388</c:v>
                </c:pt>
                <c:pt idx="44">
                  <c:v>0.1442363062549612</c:v>
                </c:pt>
                <c:pt idx="45">
                  <c:v>0.14398054589626616</c:v>
                </c:pt>
                <c:pt idx="46">
                  <c:v>0.14280900340025904</c:v>
                </c:pt>
                <c:pt idx="47">
                  <c:v>0.14414949586130676</c:v>
                </c:pt>
                <c:pt idx="48">
                  <c:v>0.14515626699692291</c:v>
                </c:pt>
                <c:pt idx="49">
                  <c:v>0.14791545098765618</c:v>
                </c:pt>
                <c:pt idx="50">
                  <c:v>0.14924972057383229</c:v>
                </c:pt>
                <c:pt idx="51">
                  <c:v>0.15108267154455246</c:v>
                </c:pt>
                <c:pt idx="52">
                  <c:v>0.15208171166741674</c:v>
                </c:pt>
                <c:pt idx="53">
                  <c:v>0.15299594059249694</c:v>
                </c:pt>
                <c:pt idx="54">
                  <c:v>0.1544074499677493</c:v>
                </c:pt>
                <c:pt idx="55">
                  <c:v>0.15531959434477421</c:v>
                </c:pt>
                <c:pt idx="56">
                  <c:v>0.15581625401264976</c:v>
                </c:pt>
                <c:pt idx="57">
                  <c:v>0.1567271232953128</c:v>
                </c:pt>
                <c:pt idx="58">
                  <c:v>0.15771855023377729</c:v>
                </c:pt>
                <c:pt idx="59">
                  <c:v>0.15862767769435299</c:v>
                </c:pt>
                <c:pt idx="60">
                  <c:v>0.1596162795180612</c:v>
                </c:pt>
                <c:pt idx="61">
                  <c:v>0.16052367372084766</c:v>
                </c:pt>
                <c:pt idx="62">
                  <c:v>0.16150946648462869</c:v>
                </c:pt>
                <c:pt idx="63">
                  <c:v>0.16290710037874578</c:v>
                </c:pt>
                <c:pt idx="64">
                  <c:v>0.16430255241753633</c:v>
                </c:pt>
                <c:pt idx="65">
                  <c:v>0.16520571897428973</c:v>
                </c:pt>
                <c:pt idx="66">
                  <c:v>0.16659775034550173</c:v>
                </c:pt>
                <c:pt idx="67">
                  <c:v>0.16708648062348821</c:v>
                </c:pt>
                <c:pt idx="68">
                  <c:v>0.16896370368673252</c:v>
                </c:pt>
                <c:pt idx="69">
                  <c:v>0.17124793208781108</c:v>
                </c:pt>
                <c:pt idx="70">
                  <c:v>0.17352678497759452</c:v>
                </c:pt>
                <c:pt idx="71">
                  <c:v>0.17628447230008942</c:v>
                </c:pt>
                <c:pt idx="72">
                  <c:v>0.17799541711227637</c:v>
                </c:pt>
                <c:pt idx="73">
                  <c:v>0.17895929931268384</c:v>
                </c:pt>
                <c:pt idx="74">
                  <c:v>0.17984954991211083</c:v>
                </c:pt>
                <c:pt idx="75">
                  <c:v>0.18025843241133371</c:v>
                </c:pt>
                <c:pt idx="76">
                  <c:v>0.18121964408477295</c:v>
                </c:pt>
                <c:pt idx="77">
                  <c:v>0.18162820907933733</c:v>
                </c:pt>
                <c:pt idx="78">
                  <c:v>0.18258764860736093</c:v>
                </c:pt>
                <c:pt idx="79">
                  <c:v>0.18436118543688768</c:v>
                </c:pt>
                <c:pt idx="80">
                  <c:v>0.18524675825345399</c:v>
                </c:pt>
                <c:pt idx="81">
                  <c:v>0.18524675825345399</c:v>
                </c:pt>
                <c:pt idx="82">
                  <c:v>0.18613157695586907</c:v>
                </c:pt>
                <c:pt idx="83">
                  <c:v>0.18708573903874401</c:v>
                </c:pt>
                <c:pt idx="84">
                  <c:v>0.18789907958596924</c:v>
                </c:pt>
                <c:pt idx="85">
                  <c:v>0.18749209474686035</c:v>
                </c:pt>
                <c:pt idx="86">
                  <c:v>0.18837497292676869</c:v>
                </c:pt>
                <c:pt idx="87">
                  <c:v>0.18742342785454344</c:v>
                </c:pt>
                <c:pt idx="88">
                  <c:v>0.18340848163554346</c:v>
                </c:pt>
                <c:pt idx="89">
                  <c:v>0.18040321277408772</c:v>
                </c:pt>
                <c:pt idx="90">
                  <c:v>0.18102205713004577</c:v>
                </c:pt>
                <c:pt idx="91">
                  <c:v>0.18272805538739059</c:v>
                </c:pt>
                <c:pt idx="92">
                  <c:v>0.18368397015594312</c:v>
                </c:pt>
                <c:pt idx="93">
                  <c:v>0.18504701473804097</c:v>
                </c:pt>
                <c:pt idx="94">
                  <c:v>0.18865184865624635</c:v>
                </c:pt>
                <c:pt idx="95">
                  <c:v>0.19257978557454047</c:v>
                </c:pt>
                <c:pt idx="96">
                  <c:v>0.19521299022759131</c:v>
                </c:pt>
                <c:pt idx="97">
                  <c:v>0.19824278126276357</c:v>
                </c:pt>
                <c:pt idx="98">
                  <c:v>0.1999894033479811</c:v>
                </c:pt>
                <c:pt idx="99">
                  <c:v>0.20213510417992148</c:v>
                </c:pt>
                <c:pt idx="100">
                  <c:v>0.20300549084467015</c:v>
                </c:pt>
                <c:pt idx="101">
                  <c:v>0.20521184346445537</c:v>
                </c:pt>
                <c:pt idx="102">
                  <c:v>0.20688058903866238</c:v>
                </c:pt>
                <c:pt idx="103">
                  <c:v>0.20774704277573863</c:v>
                </c:pt>
                <c:pt idx="104">
                  <c:v>0.20861277505207154</c:v>
                </c:pt>
                <c:pt idx="105">
                  <c:v>0.2094777870758438</c:v>
                </c:pt>
                <c:pt idx="106">
                  <c:v>0.2099425129197445</c:v>
                </c:pt>
                <c:pt idx="107">
                  <c:v>0.2103420800521868</c:v>
                </c:pt>
                <c:pt idx="108">
                  <c:v>0.21166996638947227</c:v>
                </c:pt>
                <c:pt idx="109">
                  <c:v>0.2124672841648928</c:v>
                </c:pt>
                <c:pt idx="110">
                  <c:v>0.2124672841648928</c:v>
                </c:pt>
                <c:pt idx="111">
                  <c:v>0.214653847968513</c:v>
                </c:pt>
                <c:pt idx="112">
                  <c:v>0.21505160273113777</c:v>
                </c:pt>
                <c:pt idx="113">
                  <c:v>0.21677040944067677</c:v>
                </c:pt>
                <c:pt idx="114">
                  <c:v>0.21762869350133862</c:v>
                </c:pt>
                <c:pt idx="115">
                  <c:v>0.21934324853975867</c:v>
                </c:pt>
                <c:pt idx="116">
                  <c:v>0.22059477570755276</c:v>
                </c:pt>
                <c:pt idx="117">
                  <c:v>0.22230450646321598</c:v>
                </c:pt>
                <c:pt idx="118">
                  <c:v>0.22401143028260279</c:v>
                </c:pt>
                <c:pt idx="119">
                  <c:v>0.22794127332855968</c:v>
                </c:pt>
                <c:pt idx="120">
                  <c:v>0.23126920070464535</c:v>
                </c:pt>
                <c:pt idx="121">
                  <c:v>0.23380667566838487</c:v>
                </c:pt>
                <c:pt idx="122">
                  <c:v>0.23413462010754207</c:v>
                </c:pt>
                <c:pt idx="123">
                  <c:v>0.23504218899488077</c:v>
                </c:pt>
                <c:pt idx="124">
                  <c:v>0.23627535839419411</c:v>
                </c:pt>
                <c:pt idx="125">
                  <c:v>0.23666515688285911</c:v>
                </c:pt>
                <c:pt idx="126">
                  <c:v>0.23705466680290649</c:v>
                </c:pt>
                <c:pt idx="127">
                  <c:v>0.23750726725515908</c:v>
                </c:pt>
                <c:pt idx="128">
                  <c:v>0.23750726725515908</c:v>
                </c:pt>
                <c:pt idx="129">
                  <c:v>0.238348696193765</c:v>
                </c:pt>
                <c:pt idx="130">
                  <c:v>0.23873763025644978</c:v>
                </c:pt>
                <c:pt idx="131">
                  <c:v>0.23957809157963619</c:v>
                </c:pt>
                <c:pt idx="132">
                  <c:v>0.240869296731514</c:v>
                </c:pt>
                <c:pt idx="133">
                  <c:v>0.24041865592791165</c:v>
                </c:pt>
                <c:pt idx="134">
                  <c:v>0.24125776076466254</c:v>
                </c:pt>
                <c:pt idx="135">
                  <c:v>0.24164554820570028</c:v>
                </c:pt>
                <c:pt idx="136">
                  <c:v>0.24293433165411871</c:v>
                </c:pt>
                <c:pt idx="137">
                  <c:v>0.24460791883244631</c:v>
                </c:pt>
                <c:pt idx="138">
                  <c:v>0.244994566392705</c:v>
                </c:pt>
                <c:pt idx="139">
                  <c:v>0.24666489717222562</c:v>
                </c:pt>
                <c:pt idx="140">
                  <c:v>0.24871721648604506</c:v>
                </c:pt>
                <c:pt idx="141">
                  <c:v>0.24999724757415456</c:v>
                </c:pt>
                <c:pt idx="142">
                  <c:v>0.25210633907806268</c:v>
                </c:pt>
                <c:pt idx="143">
                  <c:v>0.25414822907244744</c:v>
                </c:pt>
                <c:pt idx="144">
                  <c:v>0.25618608444890267</c:v>
                </c:pt>
                <c:pt idx="145">
                  <c:v>0.25695039299044831</c:v>
                </c:pt>
                <c:pt idx="146">
                  <c:v>0.25739449607971271</c:v>
                </c:pt>
                <c:pt idx="147">
                  <c:v>0.25739449607971271</c:v>
                </c:pt>
                <c:pt idx="148">
                  <c:v>0.25822009740511487</c:v>
                </c:pt>
                <c:pt idx="149">
                  <c:v>0.25777675100879527</c:v>
                </c:pt>
                <c:pt idx="150">
                  <c:v>0.25777675100879527</c:v>
                </c:pt>
                <c:pt idx="151">
                  <c:v>0.25777675100879527</c:v>
                </c:pt>
                <c:pt idx="152">
                  <c:v>0.25822047542898624</c:v>
                </c:pt>
                <c:pt idx="153">
                  <c:v>0.25815872897464509</c:v>
                </c:pt>
                <c:pt idx="154">
                  <c:v>0.25815872897464509</c:v>
                </c:pt>
                <c:pt idx="155">
                  <c:v>0.25815872897464509</c:v>
                </c:pt>
                <c:pt idx="156">
                  <c:v>0.25860245339483612</c:v>
                </c:pt>
                <c:pt idx="157">
                  <c:v>0.25815910699851646</c:v>
                </c:pt>
                <c:pt idx="158">
                  <c:v>0.25860283141870744</c:v>
                </c:pt>
                <c:pt idx="159">
                  <c:v>0.25942750119522717</c:v>
                </c:pt>
                <c:pt idx="160">
                  <c:v>0.25980854841423062</c:v>
                </c:pt>
                <c:pt idx="161">
                  <c:v>0.26069448644623605</c:v>
                </c:pt>
                <c:pt idx="162">
                  <c:v>0.26316179837530873</c:v>
                </c:pt>
                <c:pt idx="163">
                  <c:v>0.26436223486856503</c:v>
                </c:pt>
                <c:pt idx="164">
                  <c:v>0.26600192165129538</c:v>
                </c:pt>
                <c:pt idx="165">
                  <c:v>0.26719905390034521</c:v>
                </c:pt>
                <c:pt idx="166">
                  <c:v>0.26707592260695223</c:v>
                </c:pt>
                <c:pt idx="167">
                  <c:v>0.26485664190426905</c:v>
                </c:pt>
                <c:pt idx="168">
                  <c:v>0.26857191561820881</c:v>
                </c:pt>
                <c:pt idx="169">
                  <c:v>0.2720868234077502</c:v>
                </c:pt>
                <c:pt idx="170">
                  <c:v>0.2737144181456907</c:v>
                </c:pt>
                <c:pt idx="171">
                  <c:v>0.27533946928513742</c:v>
                </c:pt>
                <c:pt idx="172">
                  <c:v>0.27646468314313566</c:v>
                </c:pt>
                <c:pt idx="173">
                  <c:v>0.2769006020575267</c:v>
                </c:pt>
                <c:pt idx="174">
                  <c:v>0.27727540616067531</c:v>
                </c:pt>
                <c:pt idx="175">
                  <c:v>0.27727540616067531</c:v>
                </c:pt>
                <c:pt idx="176">
                  <c:v>0.27727540616067531</c:v>
                </c:pt>
                <c:pt idx="177">
                  <c:v>0.27683985209304895</c:v>
                </c:pt>
                <c:pt idx="178">
                  <c:v>0.27765030830812332</c:v>
                </c:pt>
                <c:pt idx="179">
                  <c:v>0.27727550420497471</c:v>
                </c:pt>
                <c:pt idx="180">
                  <c:v>0.2768399501373483</c:v>
                </c:pt>
                <c:pt idx="181">
                  <c:v>0.2768399501373483</c:v>
                </c:pt>
                <c:pt idx="182">
                  <c:v>0.2768399501373483</c:v>
                </c:pt>
                <c:pt idx="183">
                  <c:v>0.2768399501373483</c:v>
                </c:pt>
                <c:pt idx="184">
                  <c:v>0.27640403122295731</c:v>
                </c:pt>
                <c:pt idx="185">
                  <c:v>0.27702234832622419</c:v>
                </c:pt>
                <c:pt idx="186">
                  <c:v>0.27901641304208707</c:v>
                </c:pt>
                <c:pt idx="187">
                  <c:v>0.28106725709997338</c:v>
                </c:pt>
                <c:pt idx="188">
                  <c:v>0.28732328151372394</c:v>
                </c:pt>
                <c:pt idx="189">
                  <c:v>0.29377948234096651</c:v>
                </c:pt>
                <c:pt idx="190">
                  <c:v>0.29763100971639356</c:v>
                </c:pt>
                <c:pt idx="191">
                  <c:v>0.3006019350728375</c:v>
                </c:pt>
                <c:pt idx="192">
                  <c:v>0.30283205997135021</c:v>
                </c:pt>
                <c:pt idx="193">
                  <c:v>0.30306833817058343</c:v>
                </c:pt>
                <c:pt idx="194">
                  <c:v>0.30306833817058343</c:v>
                </c:pt>
                <c:pt idx="195">
                  <c:v>0.30429833908153447</c:v>
                </c:pt>
                <c:pt idx="196">
                  <c:v>0.30479547320457612</c:v>
                </c:pt>
                <c:pt idx="197">
                  <c:v>0.30615473356133149</c:v>
                </c:pt>
                <c:pt idx="198">
                  <c:v>0.30787702589776789</c:v>
                </c:pt>
                <c:pt idx="199">
                  <c:v>0.3082422049649528</c:v>
                </c:pt>
                <c:pt idx="200">
                  <c:v>0.3082422049649528</c:v>
                </c:pt>
                <c:pt idx="201">
                  <c:v>0.3091019016211497</c:v>
                </c:pt>
                <c:pt idx="202">
                  <c:v>0.30959620253300379</c:v>
                </c:pt>
                <c:pt idx="203">
                  <c:v>0.30983121124598789</c:v>
                </c:pt>
                <c:pt idx="204">
                  <c:v>0.30910135967156704</c:v>
                </c:pt>
                <c:pt idx="205">
                  <c:v>0.30946603252989802</c:v>
                </c:pt>
                <c:pt idx="206">
                  <c:v>0.30910110674268765</c:v>
                </c:pt>
                <c:pt idx="207">
                  <c:v>0.30996008051287272</c:v>
                </c:pt>
                <c:pt idx="208">
                  <c:v>0.30897241681957233</c:v>
                </c:pt>
                <c:pt idx="209">
                  <c:v>0.30688657698464139</c:v>
                </c:pt>
                <c:pt idx="210">
                  <c:v>0.30800803070899085</c:v>
                </c:pt>
                <c:pt idx="211">
                  <c:v>0.31058571080618447</c:v>
                </c:pt>
                <c:pt idx="212">
                  <c:v>0.31266400772278941</c:v>
                </c:pt>
                <c:pt idx="213">
                  <c:v>0.31401185280282395</c:v>
                </c:pt>
                <c:pt idx="214">
                  <c:v>0.31608341274391283</c:v>
                </c:pt>
                <c:pt idx="215">
                  <c:v>0.31644632486972324</c:v>
                </c:pt>
                <c:pt idx="216">
                  <c:v>0.31778920911340058</c:v>
                </c:pt>
                <c:pt idx="217">
                  <c:v>0.31766243159407503</c:v>
                </c:pt>
                <c:pt idx="218">
                  <c:v>0.31815208157525682</c:v>
                </c:pt>
                <c:pt idx="219">
                  <c:v>0.31815208157525682</c:v>
                </c:pt>
                <c:pt idx="220">
                  <c:v>0.31730022989834783</c:v>
                </c:pt>
                <c:pt idx="221">
                  <c:v>0.31730022989834783</c:v>
                </c:pt>
                <c:pt idx="222">
                  <c:v>0.31681057991716605</c:v>
                </c:pt>
                <c:pt idx="223">
                  <c:v>0.31681057991716605</c:v>
                </c:pt>
                <c:pt idx="224">
                  <c:v>0.31693777892339547</c:v>
                </c:pt>
                <c:pt idx="225">
                  <c:v>0.31693777892339547</c:v>
                </c:pt>
                <c:pt idx="226">
                  <c:v>0.31595847896103191</c:v>
                </c:pt>
                <c:pt idx="227">
                  <c:v>0.31657646264836914</c:v>
                </c:pt>
                <c:pt idx="228">
                  <c:v>0.31644972479299782</c:v>
                </c:pt>
                <c:pt idx="229">
                  <c:v>0.31644972479299782</c:v>
                </c:pt>
                <c:pt idx="230">
                  <c:v>0.31559645104361944</c:v>
                </c:pt>
                <c:pt idx="231">
                  <c:v>0.31670475704573597</c:v>
                </c:pt>
                <c:pt idx="232">
                  <c:v>0.31608954026845137</c:v>
                </c:pt>
                <c:pt idx="233">
                  <c:v>0.31498211899814205</c:v>
                </c:pt>
                <c:pt idx="234">
                  <c:v>0.31230409750813226</c:v>
                </c:pt>
                <c:pt idx="235">
                  <c:v>0.31328802641718878</c:v>
                </c:pt>
                <c:pt idx="236">
                  <c:v>0.31437902033480003</c:v>
                </c:pt>
                <c:pt idx="237">
                  <c:v>0.31536109242387345</c:v>
                </c:pt>
                <c:pt idx="238">
                  <c:v>0.31608741765855042</c:v>
                </c:pt>
                <c:pt idx="239">
                  <c:v>0.31657752879059031</c:v>
                </c:pt>
                <c:pt idx="240">
                  <c:v>0.31694044091640083</c:v>
                </c:pt>
                <c:pt idx="241">
                  <c:v>0.31694044091640083</c:v>
                </c:pt>
                <c:pt idx="242">
                  <c:v>0.31694044091640083</c:v>
                </c:pt>
                <c:pt idx="243">
                  <c:v>0.31743009089758256</c:v>
                </c:pt>
                <c:pt idx="244">
                  <c:v>0.31681437348255703</c:v>
                </c:pt>
                <c:pt idx="245">
                  <c:v>0.31608804824788006</c:v>
                </c:pt>
                <c:pt idx="246">
                  <c:v>0.31474441252890306</c:v>
                </c:pt>
                <c:pt idx="247">
                  <c:v>0.31450761623148382</c:v>
                </c:pt>
                <c:pt idx="248">
                  <c:v>0.31303589677447019</c:v>
                </c:pt>
                <c:pt idx="249">
                  <c:v>0.31181509176030764</c:v>
                </c:pt>
                <c:pt idx="250">
                  <c:v>0.31095798892468673</c:v>
                </c:pt>
                <c:pt idx="251">
                  <c:v>0.31059306313747626</c:v>
                </c:pt>
                <c:pt idx="252">
                  <c:v>0.31022788407029139</c:v>
                </c:pt>
                <c:pt idx="253">
                  <c:v>0.30973498768840091</c:v>
                </c:pt>
                <c:pt idx="254">
                  <c:v>0.30936955498941487</c:v>
                </c:pt>
                <c:pt idx="255">
                  <c:v>0.30936955498941487</c:v>
                </c:pt>
                <c:pt idx="256">
                  <c:v>0.31022809772743787</c:v>
                </c:pt>
                <c:pt idx="257">
                  <c:v>0.31108591989653878</c:v>
                </c:pt>
                <c:pt idx="258">
                  <c:v>0.31194302273215979</c:v>
                </c:pt>
                <c:pt idx="259">
                  <c:v>0.3108315496483921</c:v>
                </c:pt>
                <c:pt idx="260">
                  <c:v>0.30900311623165594</c:v>
                </c:pt>
                <c:pt idx="261">
                  <c:v>0.30900311623165594</c:v>
                </c:pt>
                <c:pt idx="262">
                  <c:v>0.30838182158896577</c:v>
                </c:pt>
                <c:pt idx="263">
                  <c:v>0.30863854137066538</c:v>
                </c:pt>
                <c:pt idx="264">
                  <c:v>0.31072080591389617</c:v>
                </c:pt>
                <c:pt idx="265">
                  <c:v>0.31194258160784816</c:v>
                </c:pt>
                <c:pt idx="266">
                  <c:v>0.31378289525125014</c:v>
                </c:pt>
                <c:pt idx="267">
                  <c:v>0.315001300745544</c:v>
                </c:pt>
                <c:pt idx="268">
                  <c:v>0.31634518764882763</c:v>
                </c:pt>
                <c:pt idx="269">
                  <c:v>0.3170715128835046</c:v>
                </c:pt>
                <c:pt idx="270">
                  <c:v>0.31890199410124964</c:v>
                </c:pt>
                <c:pt idx="271">
                  <c:v>0.31926465608084709</c:v>
                </c:pt>
                <c:pt idx="272">
                  <c:v>0.31962706825883302</c:v>
                </c:pt>
                <c:pt idx="273">
                  <c:v>0.32011488228208018</c:v>
                </c:pt>
                <c:pt idx="274">
                  <c:v>0.32035135231053297</c:v>
                </c:pt>
                <c:pt idx="275">
                  <c:v>0.31962652795456103</c:v>
                </c:pt>
                <c:pt idx="276">
                  <c:v>0.32060215600105524</c:v>
                </c:pt>
                <c:pt idx="277">
                  <c:v>0.32132598321250111</c:v>
                </c:pt>
                <c:pt idx="278">
                  <c:v>0.32047691929463201</c:v>
                </c:pt>
                <c:pt idx="279">
                  <c:v>0.32096427647762504</c:v>
                </c:pt>
                <c:pt idx="280">
                  <c:v>0.32132619008334801</c:v>
                </c:pt>
                <c:pt idx="281">
                  <c:v>0.32181309128095281</c:v>
                </c:pt>
                <c:pt idx="282">
                  <c:v>0.32217475611460689</c:v>
                </c:pt>
                <c:pt idx="283">
                  <c:v>0.32314764824397685</c:v>
                </c:pt>
                <c:pt idx="284">
                  <c:v>0.32156691126050307</c:v>
                </c:pt>
                <c:pt idx="285">
                  <c:v>0.31975360136251574</c:v>
                </c:pt>
                <c:pt idx="286">
                  <c:v>0.32109072790648785</c:v>
                </c:pt>
                <c:pt idx="287">
                  <c:v>0.32278744724730368</c:v>
                </c:pt>
                <c:pt idx="288">
                  <c:v>0.32399581840071434</c:v>
                </c:pt>
                <c:pt idx="289">
                  <c:v>0.32484207247172531</c:v>
                </c:pt>
                <c:pt idx="290">
                  <c:v>0.3252029930369606</c:v>
                </c:pt>
                <c:pt idx="291">
                  <c:v>0.32471835902690283</c:v>
                </c:pt>
                <c:pt idx="292">
                  <c:v>0.32471835902690283</c:v>
                </c:pt>
                <c:pt idx="293">
                  <c:v>0.32387210495589192</c:v>
                </c:pt>
                <c:pt idx="294">
                  <c:v>0.32387210495589192</c:v>
                </c:pt>
                <c:pt idx="295">
                  <c:v>0.32399622689924623</c:v>
                </c:pt>
                <c:pt idx="296">
                  <c:v>0.32302605538545059</c:v>
                </c:pt>
                <c:pt idx="297">
                  <c:v>0.32266439055179652</c:v>
                </c:pt>
                <c:pt idx="298">
                  <c:v>0.32266439055179652</c:v>
                </c:pt>
                <c:pt idx="299">
                  <c:v>0.32363637411548718</c:v>
                </c:pt>
                <c:pt idx="300">
                  <c:v>0.32218111684479367</c:v>
                </c:pt>
                <c:pt idx="301">
                  <c:v>0.32181920323907076</c:v>
                </c:pt>
                <c:pt idx="302">
                  <c:v>0.32145704051880641</c:v>
                </c:pt>
                <c:pt idx="303">
                  <c:v>0.32242993264817638</c:v>
                </c:pt>
                <c:pt idx="304">
                  <c:v>0.32182076956048633</c:v>
                </c:pt>
                <c:pt idx="305">
                  <c:v>0.32230721562517134</c:v>
                </c:pt>
                <c:pt idx="306">
                  <c:v>0.32230721562517134</c:v>
                </c:pt>
                <c:pt idx="307">
                  <c:v>0.32327919918886205</c:v>
                </c:pt>
                <c:pt idx="308">
                  <c:v>0.32351694623866839</c:v>
                </c:pt>
                <c:pt idx="309">
                  <c:v>0.32424973406734192</c:v>
                </c:pt>
                <c:pt idx="310">
                  <c:v>0.32678578832118116</c:v>
                </c:pt>
                <c:pt idx="311">
                  <c:v>0.32883273738938779</c:v>
                </c:pt>
                <c:pt idx="312">
                  <c:v>0.33051648550852564</c:v>
                </c:pt>
                <c:pt idx="313">
                  <c:v>0.33171641797118623</c:v>
                </c:pt>
                <c:pt idx="314">
                  <c:v>0.332075613765834</c:v>
                </c:pt>
                <c:pt idx="315">
                  <c:v>0.332075613765834</c:v>
                </c:pt>
                <c:pt idx="316">
                  <c:v>0.33159500792911439</c:v>
                </c:pt>
                <c:pt idx="317">
                  <c:v>0.33159500792911439</c:v>
                </c:pt>
                <c:pt idx="318">
                  <c:v>0.33123556674862525</c:v>
                </c:pt>
                <c:pt idx="319">
                  <c:v>0.33123556674862525</c:v>
                </c:pt>
                <c:pt idx="320">
                  <c:v>0.33039482974511081</c:v>
                </c:pt>
                <c:pt idx="321">
                  <c:v>0.32955340159699653</c:v>
                </c:pt>
                <c:pt idx="322">
                  <c:v>0.32955340159699653</c:v>
                </c:pt>
                <c:pt idx="323">
                  <c:v>0.32919322224321779</c:v>
                </c:pt>
                <c:pt idx="324">
                  <c:v>0.32919322224321779</c:v>
                </c:pt>
                <c:pt idx="325">
                  <c:v>0.32871128114301407</c:v>
                </c:pt>
                <c:pt idx="326">
                  <c:v>0.32835085505724887</c:v>
                </c:pt>
                <c:pt idx="327">
                  <c:v>0.3288332428955878</c:v>
                </c:pt>
                <c:pt idx="328">
                  <c:v>0.32871148114916277</c:v>
                </c:pt>
                <c:pt idx="329">
                  <c:v>0.32835105506339757</c:v>
                </c:pt>
                <c:pt idx="330">
                  <c:v>0.329676010093854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39D-8E4E-8862-0AF599B9CB5C}"/>
            </c:ext>
          </c:extLst>
        </c:ser>
        <c:ser>
          <c:idx val="1"/>
          <c:order val="1"/>
          <c:tx>
            <c:v>Average Screened</c:v>
          </c:tx>
          <c:spPr>
            <a:ln w="3492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V average screened vs. unscreen'!$A$5:$A$675</c:f>
              <c:numCache>
                <c:formatCode>General</c:formatCode>
                <c:ptCount val="671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  <c:pt idx="668">
                  <c:v>27.833333333333332</c:v>
                </c:pt>
                <c:pt idx="669">
                  <c:v>27.875</c:v>
                </c:pt>
                <c:pt idx="670">
                  <c:v>27.916666666666668</c:v>
                </c:pt>
              </c:numCache>
            </c:numRef>
          </c:xVal>
          <c:yVal>
            <c:numRef>
              <c:f>'V average screened vs. unscreen'!$I$7:$I$675</c:f>
              <c:numCache>
                <c:formatCode>General</c:formatCode>
                <c:ptCount val="669"/>
                <c:pt idx="0">
                  <c:v>1.7857106855739661E-2</c:v>
                </c:pt>
                <c:pt idx="1">
                  <c:v>2.7166645193684124E-2</c:v>
                </c:pt>
                <c:pt idx="2">
                  <c:v>3.3701309936314344E-2</c:v>
                </c:pt>
                <c:pt idx="3">
                  <c:v>3.6602413970367183E-2</c:v>
                </c:pt>
                <c:pt idx="4">
                  <c:v>3.9610194594743631E-2</c:v>
                </c:pt>
                <c:pt idx="5">
                  <c:v>4.0739832808658401E-2</c:v>
                </c:pt>
                <c:pt idx="6">
                  <c:v>4.190745016462738E-2</c:v>
                </c:pt>
                <c:pt idx="7">
                  <c:v>4.1819804737390463E-2</c:v>
                </c:pt>
                <c:pt idx="8">
                  <c:v>4.2066834269623966E-2</c:v>
                </c:pt>
                <c:pt idx="9">
                  <c:v>4.2066834269623966E-2</c:v>
                </c:pt>
                <c:pt idx="10">
                  <c:v>4.2937388062577499E-2</c:v>
                </c:pt>
                <c:pt idx="11">
                  <c:v>4.2557904638328391E-2</c:v>
                </c:pt>
                <c:pt idx="12">
                  <c:v>4.2221123584679277E-2</c:v>
                </c:pt>
                <c:pt idx="13">
                  <c:v>4.2465401605187886E-2</c:v>
                </c:pt>
                <c:pt idx="14">
                  <c:v>4.2708870795149595E-2</c:v>
                </c:pt>
                <c:pt idx="15">
                  <c:v>4.8392099622117435E-2</c:v>
                </c:pt>
                <c:pt idx="16">
                  <c:v>5.0757011337727899E-2</c:v>
                </c:pt>
                <c:pt idx="17">
                  <c:v>5.3467072294912266E-2</c:v>
                </c:pt>
                <c:pt idx="18">
                  <c:v>5.5831818717049987E-2</c:v>
                </c:pt>
                <c:pt idx="19">
                  <c:v>5.5494312698754357E-2</c:v>
                </c:pt>
                <c:pt idx="20">
                  <c:v>5.6514966326274098E-2</c:v>
                </c:pt>
                <c:pt idx="21">
                  <c:v>5.8537279880540055E-2</c:v>
                </c:pt>
                <c:pt idx="22">
                  <c:v>5.9883029098036104E-2</c:v>
                </c:pt>
                <c:pt idx="23">
                  <c:v>6.1231653838472427E-2</c:v>
                </c:pt>
                <c:pt idx="24">
                  <c:v>4.4549722490631632E-2</c:v>
                </c:pt>
                <c:pt idx="25">
                  <c:v>5.178994544352309E-2</c:v>
                </c:pt>
                <c:pt idx="26">
                  <c:v>5.7619501161199495E-2</c:v>
                </c:pt>
                <c:pt idx="27">
                  <c:v>6.0697247301249535E-2</c:v>
                </c:pt>
                <c:pt idx="28">
                  <c:v>6.2403034255573642E-2</c:v>
                </c:pt>
                <c:pt idx="29">
                  <c:v>6.4105417607059692E-2</c:v>
                </c:pt>
                <c:pt idx="30">
                  <c:v>6.5468790539540536E-2</c:v>
                </c:pt>
                <c:pt idx="31">
                  <c:v>6.614726723165297E-2</c:v>
                </c:pt>
                <c:pt idx="32">
                  <c:v>6.648905172702109E-2</c:v>
                </c:pt>
                <c:pt idx="33">
                  <c:v>6.7508321207582919E-2</c:v>
                </c:pt>
                <c:pt idx="34">
                  <c:v>6.7508321207582919E-2</c:v>
                </c:pt>
                <c:pt idx="35">
                  <c:v>6.7844777026028105E-2</c:v>
                </c:pt>
                <c:pt idx="36">
                  <c:v>6.7507995972378998E-2</c:v>
                </c:pt>
                <c:pt idx="37">
                  <c:v>6.8185571012235394E-2</c:v>
                </c:pt>
                <c:pt idx="38">
                  <c:v>6.8185571012235394E-2</c:v>
                </c:pt>
                <c:pt idx="39">
                  <c:v>6.7507338424246291E-2</c:v>
                </c:pt>
                <c:pt idx="40">
                  <c:v>6.6828861732133857E-2</c:v>
                </c:pt>
                <c:pt idx="41">
                  <c:v>6.6828861732133857E-2</c:v>
                </c:pt>
                <c:pt idx="42">
                  <c:v>6.8183929483008165E-2</c:v>
                </c:pt>
                <c:pt idx="43">
                  <c:v>6.7505696895019077E-2</c:v>
                </c:pt>
                <c:pt idx="44">
                  <c:v>7.08933355155527E-2</c:v>
                </c:pt>
                <c:pt idx="45">
                  <c:v>7.3255551718300838E-2</c:v>
                </c:pt>
                <c:pt idx="46">
                  <c:v>6.9868537813338058E-2</c:v>
                </c:pt>
                <c:pt idx="47">
                  <c:v>7.1223565928424479E-2</c:v>
                </c:pt>
                <c:pt idx="48">
                  <c:v>7.2573067509930159E-2</c:v>
                </c:pt>
                <c:pt idx="49">
                  <c:v>7.5273728864426501E-2</c:v>
                </c:pt>
                <c:pt idx="50">
                  <c:v>7.6955127821898991E-2</c:v>
                </c:pt>
                <c:pt idx="51">
                  <c:v>7.8971453260620481E-2</c:v>
                </c:pt>
                <c:pt idx="52">
                  <c:v>7.9978647643690531E-2</c:v>
                </c:pt>
                <c:pt idx="53">
                  <c:v>8.0316153661986148E-2</c:v>
                </c:pt>
                <c:pt idx="54">
                  <c:v>8.0984875548876553E-2</c:v>
                </c:pt>
                <c:pt idx="55">
                  <c:v>8.0984875548876553E-2</c:v>
                </c:pt>
                <c:pt idx="56">
                  <c:v>8.1657854613694306E-2</c:v>
                </c:pt>
                <c:pt idx="57">
                  <c:v>8.1990138829240333E-2</c:v>
                </c:pt>
                <c:pt idx="58">
                  <c:v>8.1657537397259436E-2</c:v>
                </c:pt>
                <c:pt idx="59">
                  <c:v>8.2993805504159149E-2</c:v>
                </c:pt>
                <c:pt idx="60">
                  <c:v>8.2993805504159149E-2</c:v>
                </c:pt>
                <c:pt idx="61">
                  <c:v>8.2993805504159149E-2</c:v>
                </c:pt>
                <c:pt idx="62">
                  <c:v>8.3328959632892566E-2</c:v>
                </c:pt>
                <c:pt idx="63">
                  <c:v>8.3328959632892566E-2</c:v>
                </c:pt>
                <c:pt idx="64">
                  <c:v>8.3665493478307831E-2</c:v>
                </c:pt>
                <c:pt idx="65">
                  <c:v>8.4668189357512066E-2</c:v>
                </c:pt>
                <c:pt idx="66">
                  <c:v>8.4331655512096801E-2</c:v>
                </c:pt>
                <c:pt idx="67">
                  <c:v>8.4331655512096801E-2</c:v>
                </c:pt>
                <c:pt idx="68">
                  <c:v>8.5002379535460595E-2</c:v>
                </c:pt>
                <c:pt idx="69">
                  <c:v>8.5672461713998851E-2</c:v>
                </c:pt>
                <c:pt idx="70">
                  <c:v>8.7003946030302218E-2</c:v>
                </c:pt>
                <c:pt idx="71">
                  <c:v>8.8336375590259239E-2</c:v>
                </c:pt>
                <c:pt idx="72">
                  <c:v>9.0664606314094939E-2</c:v>
                </c:pt>
                <c:pt idx="73">
                  <c:v>9.1326662619011248E-2</c:v>
                </c:pt>
                <c:pt idx="74">
                  <c:v>9.0996582088457026E-2</c:v>
                </c:pt>
                <c:pt idx="75">
                  <c:v>9.0663977872257939E-2</c:v>
                </c:pt>
                <c:pt idx="76">
                  <c:v>8.9998978115561165E-2</c:v>
                </c:pt>
                <c:pt idx="77">
                  <c:v>8.9000424174001849E-2</c:v>
                </c:pt>
                <c:pt idx="78">
                  <c:v>8.9335030379252445E-2</c:v>
                </c:pt>
                <c:pt idx="79">
                  <c:v>8.9335030379252445E-2</c:v>
                </c:pt>
                <c:pt idx="80">
                  <c:v>8.9004009001580231E-2</c:v>
                </c:pt>
                <c:pt idx="81">
                  <c:v>8.9004009001580231E-2</c:v>
                </c:pt>
                <c:pt idx="82">
                  <c:v>8.9004009001580231E-2</c:v>
                </c:pt>
                <c:pt idx="83">
                  <c:v>8.9004009001580231E-2</c:v>
                </c:pt>
                <c:pt idx="84">
                  <c:v>8.9004009001580231E-2</c:v>
                </c:pt>
                <c:pt idx="85">
                  <c:v>8.9004009001580231E-2</c:v>
                </c:pt>
                <c:pt idx="86">
                  <c:v>8.9338296078356569E-2</c:v>
                </c:pt>
                <c:pt idx="87">
                  <c:v>8.9003689873105973E-2</c:v>
                </c:pt>
                <c:pt idx="88">
                  <c:v>8.2980971398702419E-2</c:v>
                </c:pt>
                <c:pt idx="89">
                  <c:v>7.7597013029487696E-2</c:v>
                </c:pt>
                <c:pt idx="90">
                  <c:v>7.4559927959776492E-2</c:v>
                </c:pt>
                <c:pt idx="91">
                  <c:v>7.6247606674635926E-2</c:v>
                </c:pt>
                <c:pt idx="92">
                  <c:v>7.6245672954351057E-2</c:v>
                </c:pt>
                <c:pt idx="93">
                  <c:v>7.4893432665986373E-2</c:v>
                </c:pt>
                <c:pt idx="94">
                  <c:v>7.8928424815346634E-2</c:v>
                </c:pt>
                <c:pt idx="95">
                  <c:v>8.427792266326628E-2</c:v>
                </c:pt>
                <c:pt idx="96">
                  <c:v>8.8606271460321948E-2</c:v>
                </c:pt>
                <c:pt idx="97">
                  <c:v>9.1592726413291359E-2</c:v>
                </c:pt>
                <c:pt idx="98">
                  <c:v>9.4573218325001054E-2</c:v>
                </c:pt>
                <c:pt idx="99">
                  <c:v>9.6555824336675103E-2</c:v>
                </c:pt>
                <c:pt idx="100">
                  <c:v>9.7876695009964279E-2</c:v>
                </c:pt>
                <c:pt idx="101">
                  <c:v>9.8535310915376026E-2</c:v>
                </c:pt>
                <c:pt idx="102">
                  <c:v>9.9195697161254495E-2</c:v>
                </c:pt>
                <c:pt idx="103">
                  <c:v>0.10051242536382266</c:v>
                </c:pt>
                <c:pt idx="104">
                  <c:v>0.10084064015421361</c:v>
                </c:pt>
                <c:pt idx="105">
                  <c:v>0.10149906359881478</c:v>
                </c:pt>
                <c:pt idx="106">
                  <c:v>0.10215686851505089</c:v>
                </c:pt>
                <c:pt idx="107">
                  <c:v>0.10281405606393246</c:v>
                </c:pt>
                <c:pt idx="108">
                  <c:v>0.10281405606393246</c:v>
                </c:pt>
                <c:pt idx="109">
                  <c:v>0.10346988818476018</c:v>
                </c:pt>
                <c:pt idx="110">
                  <c:v>0.10445418170544714</c:v>
                </c:pt>
                <c:pt idx="111">
                  <c:v>0.10543712164097314</c:v>
                </c:pt>
                <c:pt idx="112">
                  <c:v>0.10641914107282957</c:v>
                </c:pt>
                <c:pt idx="113">
                  <c:v>0.10740006504319999</c:v>
                </c:pt>
                <c:pt idx="114">
                  <c:v>0.10935860469354251</c:v>
                </c:pt>
                <c:pt idx="115">
                  <c:v>0.11131349315489159</c:v>
                </c:pt>
                <c:pt idx="116">
                  <c:v>0.11293959292686172</c:v>
                </c:pt>
                <c:pt idx="117">
                  <c:v>0.11423859182331426</c:v>
                </c:pt>
                <c:pt idx="118">
                  <c:v>0.11683068361501769</c:v>
                </c:pt>
                <c:pt idx="119">
                  <c:v>0.11941764412437916</c:v>
                </c:pt>
                <c:pt idx="120">
                  <c:v>0.12231833436655004</c:v>
                </c:pt>
                <c:pt idx="121">
                  <c:v>0.12424964103143787</c:v>
                </c:pt>
                <c:pt idx="122">
                  <c:v>0.12585543996562365</c:v>
                </c:pt>
                <c:pt idx="123">
                  <c:v>0.12617585529620848</c:v>
                </c:pt>
                <c:pt idx="124">
                  <c:v>0.12681680113907653</c:v>
                </c:pt>
                <c:pt idx="125">
                  <c:v>0.12777900841539933</c:v>
                </c:pt>
                <c:pt idx="126">
                  <c:v>0.12841878304612872</c:v>
                </c:pt>
                <c:pt idx="127">
                  <c:v>0.12841878304612872</c:v>
                </c:pt>
                <c:pt idx="128">
                  <c:v>0.12873802844396834</c:v>
                </c:pt>
                <c:pt idx="129">
                  <c:v>0.12969628957787929</c:v>
                </c:pt>
                <c:pt idx="130">
                  <c:v>0.13033431539412835</c:v>
                </c:pt>
                <c:pt idx="131">
                  <c:v>0.13097423946449124</c:v>
                </c:pt>
                <c:pt idx="132">
                  <c:v>0.13161139490314008</c:v>
                </c:pt>
                <c:pt idx="133">
                  <c:v>0.13256922514316138</c:v>
                </c:pt>
                <c:pt idx="134">
                  <c:v>0.1335221536237565</c:v>
                </c:pt>
                <c:pt idx="135">
                  <c:v>0.13447893937198793</c:v>
                </c:pt>
                <c:pt idx="136">
                  <c:v>0.13575051585058712</c:v>
                </c:pt>
                <c:pt idx="137">
                  <c:v>0.13797309995588269</c:v>
                </c:pt>
                <c:pt idx="138">
                  <c:v>0.13987546186813715</c:v>
                </c:pt>
                <c:pt idx="139">
                  <c:v>0.1420884618753846</c:v>
                </c:pt>
                <c:pt idx="140">
                  <c:v>0.14492350568101006</c:v>
                </c:pt>
                <c:pt idx="141">
                  <c:v>0.14775567629860661</c:v>
                </c:pt>
                <c:pt idx="142">
                  <c:v>0.15089095078557765</c:v>
                </c:pt>
                <c:pt idx="143">
                  <c:v>0.15370306290407978</c:v>
                </c:pt>
                <c:pt idx="144">
                  <c:v>0.15713449392289322</c:v>
                </c:pt>
                <c:pt idx="145">
                  <c:v>0.15931071559804086</c:v>
                </c:pt>
                <c:pt idx="146">
                  <c:v>0.16023933807017646</c:v>
                </c:pt>
                <c:pt idx="147">
                  <c:v>0.16086162428999906</c:v>
                </c:pt>
                <c:pt idx="148">
                  <c:v>0.1614793895005</c:v>
                </c:pt>
                <c:pt idx="149">
                  <c:v>0.16178888177423068</c:v>
                </c:pt>
                <c:pt idx="150">
                  <c:v>0.1627195619655252</c:v>
                </c:pt>
                <c:pt idx="151">
                  <c:v>0.16302701984098308</c:v>
                </c:pt>
                <c:pt idx="152">
                  <c:v>0.16364315433375734</c:v>
                </c:pt>
                <c:pt idx="153">
                  <c:v>0.1642587471654415</c:v>
                </c:pt>
                <c:pt idx="154">
                  <c:v>0.16517991114408792</c:v>
                </c:pt>
                <c:pt idx="155">
                  <c:v>0.16610760563138624</c:v>
                </c:pt>
                <c:pt idx="156">
                  <c:v>0.16703448002067958</c:v>
                </c:pt>
                <c:pt idx="157">
                  <c:v>0.16795470012040489</c:v>
                </c:pt>
                <c:pt idx="158">
                  <c:v>0.16887767608840601</c:v>
                </c:pt>
                <c:pt idx="159">
                  <c:v>0.17041287564417881</c:v>
                </c:pt>
                <c:pt idx="160">
                  <c:v>0.17133769649435013</c:v>
                </c:pt>
                <c:pt idx="161">
                  <c:v>0.17317232850519762</c:v>
                </c:pt>
                <c:pt idx="162">
                  <c:v>0.17592072483842316</c:v>
                </c:pt>
                <c:pt idx="163">
                  <c:v>0.1792833244738469</c:v>
                </c:pt>
                <c:pt idx="164">
                  <c:v>0.18171550115204635</c:v>
                </c:pt>
                <c:pt idx="165">
                  <c:v>0.1844411965963452</c:v>
                </c:pt>
                <c:pt idx="166">
                  <c:v>0.18746725863522529</c:v>
                </c:pt>
                <c:pt idx="167">
                  <c:v>0.1844262752798338</c:v>
                </c:pt>
                <c:pt idx="168">
                  <c:v>0.18744762803566328</c:v>
                </c:pt>
                <c:pt idx="169">
                  <c:v>0.19166684450751481</c:v>
                </c:pt>
                <c:pt idx="170">
                  <c:v>0.19556328281586519</c:v>
                </c:pt>
                <c:pt idx="171">
                  <c:v>0.1979673610064594</c:v>
                </c:pt>
                <c:pt idx="172">
                  <c:v>0.20035558441935383</c:v>
                </c:pt>
                <c:pt idx="173">
                  <c:v>0.20153842516034226</c:v>
                </c:pt>
                <c:pt idx="174">
                  <c:v>0.20332628291715768</c:v>
                </c:pt>
                <c:pt idx="175">
                  <c:v>0.20510523272818523</c:v>
                </c:pt>
                <c:pt idx="176">
                  <c:v>0.20598907774414554</c:v>
                </c:pt>
                <c:pt idx="177">
                  <c:v>0.20687857310126145</c:v>
                </c:pt>
                <c:pt idx="178">
                  <c:v>0.20776068917826185</c:v>
                </c:pt>
                <c:pt idx="179">
                  <c:v>0.20863896921269606</c:v>
                </c:pt>
                <c:pt idx="180">
                  <c:v>0.21011409602594711</c:v>
                </c:pt>
                <c:pt idx="181">
                  <c:v>0.21069909695507918</c:v>
                </c:pt>
                <c:pt idx="182">
                  <c:v>0.21158749093189258</c:v>
                </c:pt>
                <c:pt idx="183">
                  <c:v>0.21305818424886594</c:v>
                </c:pt>
                <c:pt idx="184">
                  <c:v>0.21393087056798513</c:v>
                </c:pt>
                <c:pt idx="185">
                  <c:v>0.21155589992108106</c:v>
                </c:pt>
                <c:pt idx="186">
                  <c:v>0.2165465390479023</c:v>
                </c:pt>
                <c:pt idx="187">
                  <c:v>0.22152473249373675</c:v>
                </c:pt>
                <c:pt idx="188">
                  <c:v>0.2256068336370097</c:v>
                </c:pt>
                <c:pt idx="189">
                  <c:v>0.24374671536028739</c:v>
                </c:pt>
                <c:pt idx="190">
                  <c:v>0.25109537885237448</c:v>
                </c:pt>
                <c:pt idx="191">
                  <c:v>0.25608023554166087</c:v>
                </c:pt>
                <c:pt idx="192">
                  <c:v>0.26071329883386779</c:v>
                </c:pt>
                <c:pt idx="193">
                  <c:v>0.26401018163481887</c:v>
                </c:pt>
                <c:pt idx="194">
                  <c:v>0.2669727340498218</c:v>
                </c:pt>
                <c:pt idx="195">
                  <c:v>0.26927038974671991</c:v>
                </c:pt>
                <c:pt idx="196">
                  <c:v>0.27156085825412196</c:v>
                </c:pt>
                <c:pt idx="197">
                  <c:v>0.27417386208714478</c:v>
                </c:pt>
                <c:pt idx="198">
                  <c:v>0.27710295176415906</c:v>
                </c:pt>
                <c:pt idx="199">
                  <c:v>0.27970481406397846</c:v>
                </c:pt>
                <c:pt idx="200">
                  <c:v>0.2819722546168581</c:v>
                </c:pt>
                <c:pt idx="201">
                  <c:v>0.28391067258320274</c:v>
                </c:pt>
                <c:pt idx="202">
                  <c:v>0.28617223634659489</c:v>
                </c:pt>
                <c:pt idx="203">
                  <c:v>0.28778309925373308</c:v>
                </c:pt>
                <c:pt idx="204">
                  <c:v>0.28906870489001796</c:v>
                </c:pt>
                <c:pt idx="205">
                  <c:v>0.29035618252907996</c:v>
                </c:pt>
                <c:pt idx="206">
                  <c:v>0.29131580863857648</c:v>
                </c:pt>
                <c:pt idx="207">
                  <c:v>0.29323895519261828</c:v>
                </c:pt>
                <c:pt idx="208">
                  <c:v>0.29451752909504636</c:v>
                </c:pt>
                <c:pt idx="209">
                  <c:v>0.29001764336744268</c:v>
                </c:pt>
                <c:pt idx="210">
                  <c:v>0.29385930866610316</c:v>
                </c:pt>
                <c:pt idx="211">
                  <c:v>0.29928033581168129</c:v>
                </c:pt>
                <c:pt idx="212">
                  <c:v>0.30277396284773089</c:v>
                </c:pt>
                <c:pt idx="213">
                  <c:v>0.30688382955229537</c:v>
                </c:pt>
                <c:pt idx="214">
                  <c:v>0.31035734497682949</c:v>
                </c:pt>
                <c:pt idx="215">
                  <c:v>0.31444299831419431</c:v>
                </c:pt>
                <c:pt idx="216">
                  <c:v>0.31694846055946363</c:v>
                </c:pt>
                <c:pt idx="217">
                  <c:v>0.31851627039818653</c:v>
                </c:pt>
                <c:pt idx="218">
                  <c:v>0.31945067356058227</c:v>
                </c:pt>
                <c:pt idx="219">
                  <c:v>0.32132420137477663</c:v>
                </c:pt>
                <c:pt idx="220">
                  <c:v>0.32131961937556541</c:v>
                </c:pt>
                <c:pt idx="221">
                  <c:v>0.32288073649341953</c:v>
                </c:pt>
                <c:pt idx="222">
                  <c:v>0.32350041243117422</c:v>
                </c:pt>
                <c:pt idx="223">
                  <c:v>0.32350041243117422</c:v>
                </c:pt>
                <c:pt idx="224">
                  <c:v>0.32474389895415534</c:v>
                </c:pt>
                <c:pt idx="225">
                  <c:v>0.32567691981186347</c:v>
                </c:pt>
                <c:pt idx="226">
                  <c:v>0.32629468178977805</c:v>
                </c:pt>
                <c:pt idx="227">
                  <c:v>0.32722619784552648</c:v>
                </c:pt>
                <c:pt idx="228">
                  <c:v>0.32753460083716751</c:v>
                </c:pt>
                <c:pt idx="229">
                  <c:v>0.32877260949879955</c:v>
                </c:pt>
                <c:pt idx="230">
                  <c:v>0.3293881999603922</c:v>
                </c:pt>
                <c:pt idx="231">
                  <c:v>0.3293881999603922</c:v>
                </c:pt>
                <c:pt idx="232">
                  <c:v>0.33124317906052131</c:v>
                </c:pt>
                <c:pt idx="233">
                  <c:v>0.33154341946833971</c:v>
                </c:pt>
                <c:pt idx="234">
                  <c:v>0.32751628965862861</c:v>
                </c:pt>
                <c:pt idx="235">
                  <c:v>0.32998947491491765</c:v>
                </c:pt>
                <c:pt idx="236">
                  <c:v>0.33245668076905693</c:v>
                </c:pt>
                <c:pt idx="237">
                  <c:v>0.33553436458139113</c:v>
                </c:pt>
                <c:pt idx="238">
                  <c:v>0.33768330373981037</c:v>
                </c:pt>
                <c:pt idx="239">
                  <c:v>0.33983527174478673</c:v>
                </c:pt>
                <c:pt idx="240">
                  <c:v>0.3419753483170283</c:v>
                </c:pt>
                <c:pt idx="241">
                  <c:v>0.34258044110943225</c:v>
                </c:pt>
                <c:pt idx="242">
                  <c:v>0.34318893755716323</c:v>
                </c:pt>
                <c:pt idx="243">
                  <c:v>0.34411142774243825</c:v>
                </c:pt>
                <c:pt idx="244">
                  <c:v>0.34440705788768361</c:v>
                </c:pt>
                <c:pt idx="245">
                  <c:v>0.34471467698162322</c:v>
                </c:pt>
                <c:pt idx="246">
                  <c:v>0.34501618235796733</c:v>
                </c:pt>
                <c:pt idx="247">
                  <c:v>0.3444040387797091</c:v>
                </c:pt>
                <c:pt idx="248">
                  <c:v>0.34440103102298103</c:v>
                </c:pt>
                <c:pt idx="249">
                  <c:v>0.34409037565071171</c:v>
                </c:pt>
                <c:pt idx="250">
                  <c:v>0.34348383218761297</c:v>
                </c:pt>
                <c:pt idx="251">
                  <c:v>0.34378533756395702</c:v>
                </c:pt>
                <c:pt idx="252">
                  <c:v>0.34378153946591095</c:v>
                </c:pt>
                <c:pt idx="253">
                  <c:v>0.34347060684654457</c:v>
                </c:pt>
                <c:pt idx="254">
                  <c:v>0.3449976011903047</c:v>
                </c:pt>
                <c:pt idx="255">
                  <c:v>0.34560258581930481</c:v>
                </c:pt>
                <c:pt idx="256">
                  <c:v>0.347729308729255</c:v>
                </c:pt>
                <c:pt idx="257">
                  <c:v>0.34985157598444078</c:v>
                </c:pt>
                <c:pt idx="258">
                  <c:v>0.35136907568896697</c:v>
                </c:pt>
                <c:pt idx="259">
                  <c:v>0.35378565382058075</c:v>
                </c:pt>
                <c:pt idx="260">
                  <c:v>0.36796384492616124</c:v>
                </c:pt>
                <c:pt idx="261">
                  <c:v>0.3703221609507254</c:v>
                </c:pt>
                <c:pt idx="262">
                  <c:v>0.37200328705607894</c:v>
                </c:pt>
                <c:pt idx="263">
                  <c:v>0.37267594135640364</c:v>
                </c:pt>
                <c:pt idx="264">
                  <c:v>0.3760259414855725</c:v>
                </c:pt>
                <c:pt idx="265">
                  <c:v>0.37769773990477501</c:v>
                </c:pt>
                <c:pt idx="266">
                  <c:v>0.38169602125140861</c:v>
                </c:pt>
                <c:pt idx="267">
                  <c:v>0.38567827122462184</c:v>
                </c:pt>
                <c:pt idx="268">
                  <c:v>0.38898644190526527</c:v>
                </c:pt>
                <c:pt idx="269">
                  <c:v>0.39096780187241365</c:v>
                </c:pt>
                <c:pt idx="270">
                  <c:v>0.39327376065292602</c:v>
                </c:pt>
                <c:pt idx="271">
                  <c:v>0.39524704558674761</c:v>
                </c:pt>
                <c:pt idx="272">
                  <c:v>0.39656017712237412</c:v>
                </c:pt>
                <c:pt idx="273">
                  <c:v>0.39852729664218017</c:v>
                </c:pt>
                <c:pt idx="274">
                  <c:v>0.39983613239526195</c:v>
                </c:pt>
                <c:pt idx="275">
                  <c:v>0.40081584849891566</c:v>
                </c:pt>
                <c:pt idx="276">
                  <c:v>0.40244801286745741</c:v>
                </c:pt>
                <c:pt idx="277">
                  <c:v>0.4037536900989746</c:v>
                </c:pt>
                <c:pt idx="278">
                  <c:v>0.40570478091952644</c:v>
                </c:pt>
                <c:pt idx="279">
                  <c:v>0.40732970138059876</c:v>
                </c:pt>
                <c:pt idx="280">
                  <c:v>0.40895191157079819</c:v>
                </c:pt>
                <c:pt idx="281">
                  <c:v>0.41024684301435532</c:v>
                </c:pt>
                <c:pt idx="282">
                  <c:v>0.41218850617980046</c:v>
                </c:pt>
                <c:pt idx="283">
                  <c:v>0.41412658064021385</c:v>
                </c:pt>
                <c:pt idx="284">
                  <c:v>0.41670321330425325</c:v>
                </c:pt>
                <c:pt idx="285">
                  <c:v>0.41314744955766997</c:v>
                </c:pt>
                <c:pt idx="286">
                  <c:v>0.41604552234332043</c:v>
                </c:pt>
                <c:pt idx="287">
                  <c:v>0.41926113613375821</c:v>
                </c:pt>
                <c:pt idx="288">
                  <c:v>0.42342092149124039</c:v>
                </c:pt>
                <c:pt idx="289">
                  <c:v>0.42565482164436236</c:v>
                </c:pt>
                <c:pt idx="290">
                  <c:v>0.42724810002192654</c:v>
                </c:pt>
                <c:pt idx="291">
                  <c:v>0.4288387747670912</c:v>
                </c:pt>
                <c:pt idx="292">
                  <c:v>0.42947447185570353</c:v>
                </c:pt>
                <c:pt idx="293">
                  <c:v>0.43010876573519868</c:v>
                </c:pt>
                <c:pt idx="294">
                  <c:v>0.43074248554443484</c:v>
                </c:pt>
                <c:pt idx="295">
                  <c:v>0.43137703849743997</c:v>
                </c:pt>
                <c:pt idx="296">
                  <c:v>0.43232938931426035</c:v>
                </c:pt>
                <c:pt idx="297">
                  <c:v>0.43327532819554282</c:v>
                </c:pt>
                <c:pt idx="298">
                  <c:v>0.43422596343971581</c:v>
                </c:pt>
                <c:pt idx="299">
                  <c:v>0.43517573758750433</c:v>
                </c:pt>
                <c:pt idx="300">
                  <c:v>0.43548882378670045</c:v>
                </c:pt>
                <c:pt idx="301">
                  <c:v>0.43706635143801514</c:v>
                </c:pt>
                <c:pt idx="302">
                  <c:v>0.43800693850516348</c:v>
                </c:pt>
                <c:pt idx="303">
                  <c:v>0.43927104679249601</c:v>
                </c:pt>
                <c:pt idx="304">
                  <c:v>0.44053177480950984</c:v>
                </c:pt>
                <c:pt idx="305">
                  <c:v>0.44241142551955742</c:v>
                </c:pt>
                <c:pt idx="306">
                  <c:v>0.44429454748571567</c:v>
                </c:pt>
                <c:pt idx="307">
                  <c:v>0.44648296653893532</c:v>
                </c:pt>
                <c:pt idx="308">
                  <c:v>0.4489793432614741</c:v>
                </c:pt>
                <c:pt idx="309">
                  <c:v>0.44867066866878358</c:v>
                </c:pt>
                <c:pt idx="310">
                  <c:v>0.45364369570476248</c:v>
                </c:pt>
                <c:pt idx="311">
                  <c:v>0.45828899800098882</c:v>
                </c:pt>
                <c:pt idx="312">
                  <c:v>0.46260343642713275</c:v>
                </c:pt>
                <c:pt idx="313">
                  <c:v>0.46598155950060544</c:v>
                </c:pt>
                <c:pt idx="314">
                  <c:v>0.46812487167843458</c:v>
                </c:pt>
                <c:pt idx="315">
                  <c:v>0.46934621183582398</c:v>
                </c:pt>
                <c:pt idx="316">
                  <c:v>0.47026472162351762</c:v>
                </c:pt>
                <c:pt idx="317">
                  <c:v>0.47118242744088873</c:v>
                </c:pt>
                <c:pt idx="318">
                  <c:v>0.47209933069438054</c:v>
                </c:pt>
                <c:pt idx="319">
                  <c:v>0.47269735031207921</c:v>
                </c:pt>
                <c:pt idx="320">
                  <c:v>0.47362119937573172</c:v>
                </c:pt>
                <c:pt idx="321">
                  <c:v>0.47452720504041174</c:v>
                </c:pt>
                <c:pt idx="322">
                  <c:v>0.47544120128686318</c:v>
                </c:pt>
                <c:pt idx="323">
                  <c:v>0.4763544014201237</c:v>
                </c:pt>
                <c:pt idx="324">
                  <c:v>0.47756180583394192</c:v>
                </c:pt>
                <c:pt idx="325">
                  <c:v>0.47847317017998287</c:v>
                </c:pt>
                <c:pt idx="326">
                  <c:v>0.47968191353261541</c:v>
                </c:pt>
                <c:pt idx="327">
                  <c:v>0.48089463500181634</c:v>
                </c:pt>
                <c:pt idx="328">
                  <c:v>0.48210993700774268</c:v>
                </c:pt>
                <c:pt idx="329">
                  <c:v>0.48391357843036403</c:v>
                </c:pt>
                <c:pt idx="330">
                  <c:v>0.48512133259026236</c:v>
                </c:pt>
                <c:pt idx="331">
                  <c:v>0.48783113647221926</c:v>
                </c:pt>
                <c:pt idx="332">
                  <c:v>0.48722871386393213</c:v>
                </c:pt>
                <c:pt idx="333">
                  <c:v>0.49382142687369629</c:v>
                </c:pt>
                <c:pt idx="334">
                  <c:v>0.47586007198408192</c:v>
                </c:pt>
                <c:pt idx="335">
                  <c:v>0.48131241113215029</c:v>
                </c:pt>
                <c:pt idx="336">
                  <c:v>0.49002481333647269</c:v>
                </c:pt>
                <c:pt idx="337">
                  <c:v>0.4983702294717598</c:v>
                </c:pt>
                <c:pt idx="338">
                  <c:v>0.50429705313912665</c:v>
                </c:pt>
                <c:pt idx="339">
                  <c:v>0.5093106724154578</c:v>
                </c:pt>
                <c:pt idx="340">
                  <c:v>0.51312635267669626</c:v>
                </c:pt>
                <c:pt idx="341">
                  <c:v>0.51517493372386147</c:v>
                </c:pt>
                <c:pt idx="342">
                  <c:v>0.51751462325018072</c:v>
                </c:pt>
                <c:pt idx="343">
                  <c:v>0.5195546838749826</c:v>
                </c:pt>
                <c:pt idx="344">
                  <c:v>0.52071721720030295</c:v>
                </c:pt>
                <c:pt idx="345">
                  <c:v>0.52275465458724357</c:v>
                </c:pt>
                <c:pt idx="346">
                  <c:v>0.52391722169555366</c:v>
                </c:pt>
                <c:pt idx="347">
                  <c:v>0.52507495394831161</c:v>
                </c:pt>
                <c:pt idx="348">
                  <c:v>0.52623487797534907</c:v>
                </c:pt>
                <c:pt idx="349">
                  <c:v>0.52767866964712828</c:v>
                </c:pt>
                <c:pt idx="350">
                  <c:v>0.52884141702606025</c:v>
                </c:pt>
                <c:pt idx="351">
                  <c:v>0.53028164103055853</c:v>
                </c:pt>
                <c:pt idx="352">
                  <c:v>0.52649462046352025</c:v>
                </c:pt>
                <c:pt idx="353">
                  <c:v>0.53140087258295587</c:v>
                </c:pt>
                <c:pt idx="354">
                  <c:v>0.53657275405028837</c:v>
                </c:pt>
                <c:pt idx="355">
                  <c:v>0.53944809893725587</c:v>
                </c:pt>
                <c:pt idx="356">
                  <c:v>0.52039199608909203</c:v>
                </c:pt>
                <c:pt idx="357">
                  <c:v>0.53219157124243488</c:v>
                </c:pt>
                <c:pt idx="358">
                  <c:v>0.53721770835181459</c:v>
                </c:pt>
                <c:pt idx="359">
                  <c:v>0.54189219198032379</c:v>
                </c:pt>
                <c:pt idx="360">
                  <c:v>0.54388882981510545</c:v>
                </c:pt>
                <c:pt idx="361">
                  <c:v>0.54587405389090693</c:v>
                </c:pt>
                <c:pt idx="362">
                  <c:v>0.54885512668015257</c:v>
                </c:pt>
                <c:pt idx="363">
                  <c:v>0.55215977065320165</c:v>
                </c:pt>
                <c:pt idx="364">
                  <c:v>0.55413835250842336</c:v>
                </c:pt>
                <c:pt idx="365">
                  <c:v>0.55512399758780917</c:v>
                </c:pt>
                <c:pt idx="366">
                  <c:v>0.55709700770869086</c:v>
                </c:pt>
                <c:pt idx="367">
                  <c:v>0.55808258549048062</c:v>
                </c:pt>
                <c:pt idx="368">
                  <c:v>0.55906723773537348</c:v>
                </c:pt>
                <c:pt idx="369">
                  <c:v>0.56037467289294662</c:v>
                </c:pt>
                <c:pt idx="370">
                  <c:v>0.56135717937415142</c:v>
                </c:pt>
                <c:pt idx="371">
                  <c:v>0.562338766069018</c:v>
                </c:pt>
                <c:pt idx="372">
                  <c:v>0.56364194736596618</c:v>
                </c:pt>
                <c:pt idx="373">
                  <c:v>0.5642956213682041</c:v>
                </c:pt>
                <c:pt idx="374">
                  <c:v>0.5659255608858561</c:v>
                </c:pt>
                <c:pt idx="375">
                  <c:v>0.56722653856547278</c:v>
                </c:pt>
                <c:pt idx="376">
                  <c:v>0.56852045500874981</c:v>
                </c:pt>
                <c:pt idx="377">
                  <c:v>0.57079579505793798</c:v>
                </c:pt>
                <c:pt idx="378">
                  <c:v>0.57305856987193582</c:v>
                </c:pt>
                <c:pt idx="379">
                  <c:v>0.57564208344428824</c:v>
                </c:pt>
                <c:pt idx="380">
                  <c:v>0.57885834251784607</c:v>
                </c:pt>
                <c:pt idx="381">
                  <c:v>0.5823879689421757</c:v>
                </c:pt>
                <c:pt idx="382">
                  <c:v>0.58843997714636009</c:v>
                </c:pt>
                <c:pt idx="383">
                  <c:v>0.59415330903731134</c:v>
                </c:pt>
                <c:pt idx="384">
                  <c:v>0.59826707738449281</c:v>
                </c:pt>
                <c:pt idx="385">
                  <c:v>0.60048058642200797</c:v>
                </c:pt>
                <c:pt idx="386">
                  <c:v>0.60048058642200797</c:v>
                </c:pt>
                <c:pt idx="387">
                  <c:v>0.60079162638406169</c:v>
                </c:pt>
                <c:pt idx="388">
                  <c:v>0.60173697277629024</c:v>
                </c:pt>
                <c:pt idx="389">
                  <c:v>0.60204746046568414</c:v>
                </c:pt>
                <c:pt idx="390">
                  <c:v>0.6029916798652345</c:v>
                </c:pt>
                <c:pt idx="391">
                  <c:v>0.6036199651929044</c:v>
                </c:pt>
                <c:pt idx="392">
                  <c:v>0.6039350496948821</c:v>
                </c:pt>
                <c:pt idx="393">
                  <c:v>0.60519504862812024</c:v>
                </c:pt>
                <c:pt idx="394">
                  <c:v>0.60613075740273548</c:v>
                </c:pt>
                <c:pt idx="395">
                  <c:v>0.60644527642642532</c:v>
                </c:pt>
                <c:pt idx="396">
                  <c:v>0.60738554468568984</c:v>
                </c:pt>
                <c:pt idx="397">
                  <c:v>0.60894932068405383</c:v>
                </c:pt>
                <c:pt idx="398">
                  <c:v>0.60988734650332987</c:v>
                </c:pt>
                <c:pt idx="399">
                  <c:v>0.61113174818785287</c:v>
                </c:pt>
                <c:pt idx="400">
                  <c:v>0.6098781088944526</c:v>
                </c:pt>
                <c:pt idx="401">
                  <c:v>0.61017449873426444</c:v>
                </c:pt>
                <c:pt idx="402">
                  <c:v>0.61141155916901646</c:v>
                </c:pt>
                <c:pt idx="403">
                  <c:v>0.61296818831818667</c:v>
                </c:pt>
                <c:pt idx="404">
                  <c:v>0.614835441480448</c:v>
                </c:pt>
                <c:pt idx="405">
                  <c:v>0.61669937493284077</c:v>
                </c:pt>
                <c:pt idx="406">
                  <c:v>0.61358925902764161</c:v>
                </c:pt>
                <c:pt idx="407">
                  <c:v>0.6151300856548666</c:v>
                </c:pt>
                <c:pt idx="408">
                  <c:v>0.61792090090937135</c:v>
                </c:pt>
                <c:pt idx="409">
                  <c:v>0.62223614919386783</c:v>
                </c:pt>
                <c:pt idx="410">
                  <c:v>0.62563009670143288</c:v>
                </c:pt>
                <c:pt idx="411">
                  <c:v>0.62777406465340058</c:v>
                </c:pt>
                <c:pt idx="412">
                  <c:v>0.62992497480319976</c:v>
                </c:pt>
                <c:pt idx="413">
                  <c:v>0.63145267497704627</c:v>
                </c:pt>
                <c:pt idx="414">
                  <c:v>0.63237078532894941</c:v>
                </c:pt>
                <c:pt idx="415">
                  <c:v>0.63390446933608491</c:v>
                </c:pt>
                <c:pt idx="416">
                  <c:v>0.63451308208095447</c:v>
                </c:pt>
                <c:pt idx="417">
                  <c:v>0.63572732763722961</c:v>
                </c:pt>
                <c:pt idx="418">
                  <c:v>0.63664170426288014</c:v>
                </c:pt>
                <c:pt idx="419">
                  <c:v>0.63785333491085938</c:v>
                </c:pt>
                <c:pt idx="420">
                  <c:v>0.63876586511966649</c:v>
                </c:pt>
                <c:pt idx="421">
                  <c:v>0.63967760174257771</c:v>
                </c:pt>
                <c:pt idx="422">
                  <c:v>0.64028115247627726</c:v>
                </c:pt>
                <c:pt idx="423">
                  <c:v>0.6417952149448285</c:v>
                </c:pt>
                <c:pt idx="424">
                  <c:v>0.64330692248998356</c:v>
                </c:pt>
                <c:pt idx="425">
                  <c:v>0.64481518446079</c:v>
                </c:pt>
                <c:pt idx="426">
                  <c:v>0.64632247632566453</c:v>
                </c:pt>
                <c:pt idx="427">
                  <c:v>0.64902385774110882</c:v>
                </c:pt>
                <c:pt idx="428">
                  <c:v>0.65233244487936048</c:v>
                </c:pt>
                <c:pt idx="429">
                  <c:v>0.68532467929348651</c:v>
                </c:pt>
                <c:pt idx="430">
                  <c:v>0.70315475204648392</c:v>
                </c:pt>
                <c:pt idx="431">
                  <c:v>0.70805740045195342</c:v>
                </c:pt>
                <c:pt idx="432">
                  <c:v>0.71194872489704208</c:v>
                </c:pt>
                <c:pt idx="433">
                  <c:v>0.71487282157582399</c:v>
                </c:pt>
                <c:pt idx="434">
                  <c:v>0.7177793837277654</c:v>
                </c:pt>
                <c:pt idx="435">
                  <c:v>0.71971685101128902</c:v>
                </c:pt>
                <c:pt idx="436">
                  <c:v>0.72165511337486132</c:v>
                </c:pt>
                <c:pt idx="437">
                  <c:v>0.72390730791944546</c:v>
                </c:pt>
                <c:pt idx="438">
                  <c:v>0.72485883924517713</c:v>
                </c:pt>
                <c:pt idx="439">
                  <c:v>0.72646945999454171</c:v>
                </c:pt>
                <c:pt idx="440">
                  <c:v>0.72807025624807464</c:v>
                </c:pt>
                <c:pt idx="441">
                  <c:v>0.72903041604574825</c:v>
                </c:pt>
                <c:pt idx="442">
                  <c:v>0.73030979965722287</c:v>
                </c:pt>
                <c:pt idx="443">
                  <c:v>0.73094289104574095</c:v>
                </c:pt>
                <c:pt idx="444">
                  <c:v>0.73158061822311327</c:v>
                </c:pt>
                <c:pt idx="445">
                  <c:v>0.73285679648437052</c:v>
                </c:pt>
                <c:pt idx="446">
                  <c:v>0.73348816992314825</c:v>
                </c:pt>
                <c:pt idx="447">
                  <c:v>0.73444338966504585</c:v>
                </c:pt>
                <c:pt idx="448">
                  <c:v>0.73570877932952838</c:v>
                </c:pt>
                <c:pt idx="449">
                  <c:v>0.73666198468751853</c:v>
                </c:pt>
                <c:pt idx="450">
                  <c:v>0.73855891164252097</c:v>
                </c:pt>
                <c:pt idx="451">
                  <c:v>0.74045843149593737</c:v>
                </c:pt>
                <c:pt idx="452">
                  <c:v>0.74203847863061156</c:v>
                </c:pt>
                <c:pt idx="453">
                  <c:v>0.74486952399891726</c:v>
                </c:pt>
                <c:pt idx="454">
                  <c:v>0.74706487506620689</c:v>
                </c:pt>
                <c:pt idx="455">
                  <c:v>0.74988864191383164</c:v>
                </c:pt>
                <c:pt idx="456">
                  <c:v>0.75239922052688435</c:v>
                </c:pt>
                <c:pt idx="457">
                  <c:v>0.75395533299539996</c:v>
                </c:pt>
                <c:pt idx="458">
                  <c:v>0.75552798543466981</c:v>
                </c:pt>
                <c:pt idx="459">
                  <c:v>0.75677485587429583</c:v>
                </c:pt>
                <c:pt idx="460">
                  <c:v>0.75739144327310193</c:v>
                </c:pt>
                <c:pt idx="461">
                  <c:v>0.75864222029503525</c:v>
                </c:pt>
                <c:pt idx="462">
                  <c:v>0.75925772031569849</c:v>
                </c:pt>
                <c:pt idx="463">
                  <c:v>0.75957480010581957</c:v>
                </c:pt>
                <c:pt idx="464">
                  <c:v>0.76080363304906895</c:v>
                </c:pt>
                <c:pt idx="465">
                  <c:v>0.76173430237895401</c:v>
                </c:pt>
                <c:pt idx="466">
                  <c:v>0.76204415652338664</c:v>
                </c:pt>
                <c:pt idx="467">
                  <c:v>0.76297372506069916</c:v>
                </c:pt>
                <c:pt idx="468">
                  <c:v>0.76420516422454232</c:v>
                </c:pt>
                <c:pt idx="469">
                  <c:v>0.76483013039250469</c:v>
                </c:pt>
                <c:pt idx="470">
                  <c:v>0.76544158074637636</c:v>
                </c:pt>
                <c:pt idx="471">
                  <c:v>0.76636814798123398</c:v>
                </c:pt>
                <c:pt idx="472">
                  <c:v>0.76791636265732299</c:v>
                </c:pt>
                <c:pt idx="473">
                  <c:v>0.76913445058053187</c:v>
                </c:pt>
                <c:pt idx="474">
                  <c:v>0.77097945468751361</c:v>
                </c:pt>
                <c:pt idx="475">
                  <c:v>0.77342656146638344</c:v>
                </c:pt>
                <c:pt idx="476">
                  <c:v>0.7755631127722965</c:v>
                </c:pt>
                <c:pt idx="477">
                  <c:v>0.77801303726606996</c:v>
                </c:pt>
                <c:pt idx="478">
                  <c:v>0.78104381290617308</c:v>
                </c:pt>
                <c:pt idx="479">
                  <c:v>0.78437582518310023</c:v>
                </c:pt>
                <c:pt idx="480">
                  <c:v>0.78681828612316107</c:v>
                </c:pt>
                <c:pt idx="481">
                  <c:v>0.78922301535619377</c:v>
                </c:pt>
                <c:pt idx="482">
                  <c:v>0.7910330487571734</c:v>
                </c:pt>
                <c:pt idx="483">
                  <c:v>0.79313942804590021</c:v>
                </c:pt>
                <c:pt idx="484">
                  <c:v>0.79494271721373266</c:v>
                </c:pt>
                <c:pt idx="485">
                  <c:v>0.79614228337038406</c:v>
                </c:pt>
                <c:pt idx="486">
                  <c:v>0.79734893306976018</c:v>
                </c:pt>
                <c:pt idx="487">
                  <c:v>0.79794092225630742</c:v>
                </c:pt>
                <c:pt idx="488">
                  <c:v>0.79944316919080227</c:v>
                </c:pt>
                <c:pt idx="489">
                  <c:v>0.80063274101964221</c:v>
                </c:pt>
                <c:pt idx="490">
                  <c:v>0.80122272885522305</c:v>
                </c:pt>
                <c:pt idx="491">
                  <c:v>0.80272035957373944</c:v>
                </c:pt>
                <c:pt idx="492">
                  <c:v>0.8042023193950133</c:v>
                </c:pt>
                <c:pt idx="493">
                  <c:v>0.80509527464890629</c:v>
                </c:pt>
                <c:pt idx="494">
                  <c:v>0.8062828739374801</c:v>
                </c:pt>
                <c:pt idx="495">
                  <c:v>0.80775958437975115</c:v>
                </c:pt>
                <c:pt idx="496">
                  <c:v>0.80952797368439999</c:v>
                </c:pt>
                <c:pt idx="497">
                  <c:v>0.81247749502052191</c:v>
                </c:pt>
                <c:pt idx="498">
                  <c:v>0.81424790180764006</c:v>
                </c:pt>
                <c:pt idx="499">
                  <c:v>0.81572709807518773</c:v>
                </c:pt>
                <c:pt idx="500">
                  <c:v>0.81776919235350432</c:v>
                </c:pt>
                <c:pt idx="501">
                  <c:v>0.82011852411919939</c:v>
                </c:pt>
                <c:pt idx="502">
                  <c:v>0.84395346865129062</c:v>
                </c:pt>
                <c:pt idx="503">
                  <c:v>0.85798110578366904</c:v>
                </c:pt>
                <c:pt idx="504">
                  <c:v>0.86327349407378751</c:v>
                </c:pt>
                <c:pt idx="505">
                  <c:v>0.86788194257708851</c:v>
                </c:pt>
                <c:pt idx="506">
                  <c:v>0.87083398631945064</c:v>
                </c:pt>
                <c:pt idx="507">
                  <c:v>0.87345463501338305</c:v>
                </c:pt>
                <c:pt idx="508">
                  <c:v>0.87606237055204639</c:v>
                </c:pt>
                <c:pt idx="509">
                  <c:v>0.87801308272579137</c:v>
                </c:pt>
                <c:pt idx="510">
                  <c:v>0.87996728422380122</c:v>
                </c:pt>
                <c:pt idx="511">
                  <c:v>0.88191460009804878</c:v>
                </c:pt>
                <c:pt idx="512">
                  <c:v>0.88353146986564746</c:v>
                </c:pt>
                <c:pt idx="513">
                  <c:v>0.88515233071370913</c:v>
                </c:pt>
                <c:pt idx="514">
                  <c:v>0.88676412413827999</c:v>
                </c:pt>
                <c:pt idx="515">
                  <c:v>0.88773239216587552</c:v>
                </c:pt>
                <c:pt idx="516">
                  <c:v>0.88902134656438536</c:v>
                </c:pt>
                <c:pt idx="517">
                  <c:v>0.88998753255943541</c:v>
                </c:pt>
                <c:pt idx="518">
                  <c:v>0.89127352075092781</c:v>
                </c:pt>
                <c:pt idx="519">
                  <c:v>0.89287555967288734</c:v>
                </c:pt>
                <c:pt idx="520">
                  <c:v>0.89383820383348478</c:v>
                </c:pt>
                <c:pt idx="521">
                  <c:v>0.89575996358895926</c:v>
                </c:pt>
                <c:pt idx="522">
                  <c:v>0.89640300404798845</c:v>
                </c:pt>
                <c:pt idx="523">
                  <c:v>0.897989440938324</c:v>
                </c:pt>
                <c:pt idx="524">
                  <c:v>0.90022081272392063</c:v>
                </c:pt>
                <c:pt idx="525">
                  <c:v>0.90308338330210025</c:v>
                </c:pt>
                <c:pt idx="526">
                  <c:v>0.90561730876339208</c:v>
                </c:pt>
                <c:pt idx="527">
                  <c:v>0.90846521486235687</c:v>
                </c:pt>
                <c:pt idx="528">
                  <c:v>0.9106797770409415</c:v>
                </c:pt>
                <c:pt idx="529">
                  <c:v>0.91257094771724967</c:v>
                </c:pt>
                <c:pt idx="530">
                  <c:v>0.91414739729339678</c:v>
                </c:pt>
                <c:pt idx="531">
                  <c:v>0.91571438229155078</c:v>
                </c:pt>
                <c:pt idx="532">
                  <c:v>0.91728601621938732</c:v>
                </c:pt>
                <c:pt idx="533">
                  <c:v>0.91822650884738888</c:v>
                </c:pt>
                <c:pt idx="534">
                  <c:v>0.91884879177573042</c:v>
                </c:pt>
                <c:pt idx="535">
                  <c:v>0.92010468009590729</c:v>
                </c:pt>
                <c:pt idx="536">
                  <c:v>0.92103653821295273</c:v>
                </c:pt>
                <c:pt idx="537">
                  <c:v>0.9222827925045447</c:v>
                </c:pt>
                <c:pt idx="538">
                  <c:v>0.92352867511365455</c:v>
                </c:pt>
                <c:pt idx="539">
                  <c:v>0.9244635934149833</c:v>
                </c:pt>
                <c:pt idx="540">
                  <c:v>0.92508910877367934</c:v>
                </c:pt>
                <c:pt idx="541">
                  <c:v>0.92663941618715018</c:v>
                </c:pt>
                <c:pt idx="542">
                  <c:v>0.92757156649167671</c:v>
                </c:pt>
                <c:pt idx="543">
                  <c:v>0.9288174073746428</c:v>
                </c:pt>
                <c:pt idx="544">
                  <c:v>0.9306693514151233</c:v>
                </c:pt>
                <c:pt idx="545">
                  <c:v>0.93221118591642849</c:v>
                </c:pt>
                <c:pt idx="546">
                  <c:v>0.93375810683469662</c:v>
                </c:pt>
                <c:pt idx="547">
                  <c:v>0.93591323461454123</c:v>
                </c:pt>
                <c:pt idx="548">
                  <c:v>0.9377595016552237</c:v>
                </c:pt>
                <c:pt idx="549">
                  <c:v>0.93959497401196346</c:v>
                </c:pt>
                <c:pt idx="550">
                  <c:v>0.94113087703237752</c:v>
                </c:pt>
                <c:pt idx="551">
                  <c:v>0.94357380113835154</c:v>
                </c:pt>
                <c:pt idx="552">
                  <c:v>0.94541401260153435</c:v>
                </c:pt>
                <c:pt idx="553">
                  <c:v>0.94753757118025173</c:v>
                </c:pt>
                <c:pt idx="554">
                  <c:v>0.94967221488634779</c:v>
                </c:pt>
                <c:pt idx="555">
                  <c:v>0.95119356843767544</c:v>
                </c:pt>
                <c:pt idx="556">
                  <c:v>0.95240464872405417</c:v>
                </c:pt>
                <c:pt idx="557">
                  <c:v>0.95361453423259501</c:v>
                </c:pt>
                <c:pt idx="558">
                  <c:v>0.95513009085595379</c:v>
                </c:pt>
                <c:pt idx="559">
                  <c:v>0.95663605324013767</c:v>
                </c:pt>
                <c:pt idx="560">
                  <c:v>0.95754192527858528</c:v>
                </c:pt>
                <c:pt idx="561">
                  <c:v>0.95844701536640364</c:v>
                </c:pt>
                <c:pt idx="562">
                  <c:v>0.9599480696586512</c:v>
                </c:pt>
                <c:pt idx="563">
                  <c:v>0.96145487942253816</c:v>
                </c:pt>
                <c:pt idx="564">
                  <c:v>0.96205023143894275</c:v>
                </c:pt>
                <c:pt idx="565">
                  <c:v>0.9635535655777</c:v>
                </c:pt>
                <c:pt idx="566">
                  <c:v>0.96475077596750269</c:v>
                </c:pt>
                <c:pt idx="567">
                  <c:v>0.96624261448749771</c:v>
                </c:pt>
                <c:pt idx="568">
                  <c:v>0.96774003759925054</c:v>
                </c:pt>
                <c:pt idx="569">
                  <c:v>0.96982671368796769</c:v>
                </c:pt>
                <c:pt idx="570">
                  <c:v>0.97161317738310382</c:v>
                </c:pt>
                <c:pt idx="571">
                  <c:v>0.97427971432632032</c:v>
                </c:pt>
                <c:pt idx="572">
                  <c:v>0.97605974425258879</c:v>
                </c:pt>
                <c:pt idx="573">
                  <c:v>0.97872300700947734</c:v>
                </c:pt>
                <c:pt idx="574">
                  <c:v>0.98137024478898793</c:v>
                </c:pt>
                <c:pt idx="575">
                  <c:v>0.98401035498278999</c:v>
                </c:pt>
                <c:pt idx="576">
                  <c:v>0.98724129333782473</c:v>
                </c:pt>
                <c:pt idx="577">
                  <c:v>0.98900864567937352</c:v>
                </c:pt>
                <c:pt idx="578">
                  <c:v>0.99075423469981549</c:v>
                </c:pt>
                <c:pt idx="579">
                  <c:v>0.99221688952759868</c:v>
                </c:pt>
                <c:pt idx="580">
                  <c:v>0.99337322180438437</c:v>
                </c:pt>
                <c:pt idx="581">
                  <c:v>0.99454329845569456</c:v>
                </c:pt>
                <c:pt idx="582">
                  <c:v>0.99570391683420112</c:v>
                </c:pt>
                <c:pt idx="583">
                  <c:v>0.99715156283090256</c:v>
                </c:pt>
                <c:pt idx="584">
                  <c:v>0.99860525580013826</c:v>
                </c:pt>
                <c:pt idx="585">
                  <c:v>0.99976336224523765</c:v>
                </c:pt>
                <c:pt idx="586">
                  <c:v>1.0006220742179452</c:v>
                </c:pt>
                <c:pt idx="587">
                  <c:v>1.0023580197624498</c:v>
                </c:pt>
                <c:pt idx="588">
                  <c:v>1.0037961618263618</c:v>
                </c:pt>
                <c:pt idx="589">
                  <c:v>1.0049429007135129</c:v>
                </c:pt>
                <c:pt idx="590">
                  <c:v>1.0057962539652689</c:v>
                </c:pt>
                <c:pt idx="591">
                  <c:v>1.00694655595767</c:v>
                </c:pt>
                <c:pt idx="592">
                  <c:v>1.0089541203036227</c:v>
                </c:pt>
                <c:pt idx="593">
                  <c:v>1.0106671549123065</c:v>
                </c:pt>
                <c:pt idx="594">
                  <c:v>1.0123702213298864</c:v>
                </c:pt>
                <c:pt idx="595">
                  <c:v>1.0140869158580754</c:v>
                </c:pt>
                <c:pt idx="596">
                  <c:v>1.0433528678982196</c:v>
                </c:pt>
                <c:pt idx="597">
                  <c:v>1.0609151730491748</c:v>
                </c:pt>
                <c:pt idx="598">
                  <c:v>1.0694287525436541</c:v>
                </c:pt>
                <c:pt idx="599">
                  <c:v>1.074308547165769</c:v>
                </c:pt>
                <c:pt idx="600">
                  <c:v>1.077865135392722</c:v>
                </c:pt>
                <c:pt idx="601">
                  <c:v>1.0804497516887526</c:v>
                </c:pt>
                <c:pt idx="602">
                  <c:v>1.0820591406341162</c:v>
                </c:pt>
                <c:pt idx="603">
                  <c:v>1.0839839272900209</c:v>
                </c:pt>
                <c:pt idx="604">
                  <c:v>1.0849453621666652</c:v>
                </c:pt>
                <c:pt idx="605">
                  <c:v>1.0855844573480575</c:v>
                </c:pt>
                <c:pt idx="606">
                  <c:v>1.0871766348638576</c:v>
                </c:pt>
                <c:pt idx="607">
                  <c:v>1.0881343027652177</c:v>
                </c:pt>
                <c:pt idx="608">
                  <c:v>1.0887609298669034</c:v>
                </c:pt>
                <c:pt idx="609">
                  <c:v>1.0906804418792098</c:v>
                </c:pt>
                <c:pt idx="610">
                  <c:v>1.0916292297561574</c:v>
                </c:pt>
                <c:pt idx="611">
                  <c:v>1.0932142036015671</c:v>
                </c:pt>
                <c:pt idx="612">
                  <c:v>1.0944836972101746</c:v>
                </c:pt>
                <c:pt idx="613">
                  <c:v>1.0957394528147546</c:v>
                </c:pt>
                <c:pt idx="614">
                  <c:v>1.0973230865555139</c:v>
                </c:pt>
                <c:pt idx="615">
                  <c:v>1.0992145567384188</c:v>
                </c:pt>
                <c:pt idx="616">
                  <c:v>1.1004621938444501</c:v>
                </c:pt>
                <c:pt idx="617">
                  <c:v>1.1026692960323468</c:v>
                </c:pt>
                <c:pt idx="618">
                  <c:v>1.1042337545817131</c:v>
                </c:pt>
                <c:pt idx="619">
                  <c:v>1.1057883796327037</c:v>
                </c:pt>
                <c:pt idx="620">
                  <c:v>1.1082892640283581</c:v>
                </c:pt>
                <c:pt idx="621">
                  <c:v>1.110471511576373</c:v>
                </c:pt>
                <c:pt idx="622">
                  <c:v>1.112656383963782</c:v>
                </c:pt>
                <c:pt idx="623">
                  <c:v>1.1145162944555527</c:v>
                </c:pt>
                <c:pt idx="624">
                  <c:v>1.1169947040181307</c:v>
                </c:pt>
                <c:pt idx="625">
                  <c:v>1.1191472331597867</c:v>
                </c:pt>
                <c:pt idx="626">
                  <c:v>1.1203818690060656</c:v>
                </c:pt>
                <c:pt idx="627">
                  <c:v>1.1222065037126761</c:v>
                </c:pt>
                <c:pt idx="628">
                  <c:v>1.1234369005220382</c:v>
                </c:pt>
                <c:pt idx="629">
                  <c:v>1.1246656987707282</c:v>
                </c:pt>
                <c:pt idx="630">
                  <c:v>1.1264671142245863</c:v>
                </c:pt>
                <c:pt idx="631">
                  <c:v>1.1276914887889928</c:v>
                </c:pt>
                <c:pt idx="632">
                  <c:v>1.1292106915454756</c:v>
                </c:pt>
                <c:pt idx="633">
                  <c:v>1.1307179428675564</c:v>
                </c:pt>
                <c:pt idx="634">
                  <c:v>1.1322315030883521</c:v>
                </c:pt>
                <c:pt idx="635">
                  <c:v>1.1334243104819122</c:v>
                </c:pt>
                <c:pt idx="636">
                  <c:v>1.1352405769841107</c:v>
                </c:pt>
                <c:pt idx="637">
                  <c:v>1.1364281053751784</c:v>
                </c:pt>
                <c:pt idx="638">
                  <c:v>1.137920362414488</c:v>
                </c:pt>
                <c:pt idx="639">
                  <c:v>1.1397110339832046</c:v>
                </c:pt>
                <c:pt idx="640">
                  <c:v>1.1409172735646844</c:v>
                </c:pt>
                <c:pt idx="641">
                  <c:v>1.1426900682600307</c:v>
                </c:pt>
                <c:pt idx="642">
                  <c:v>1.1444976117893737</c:v>
                </c:pt>
                <c:pt idx="643">
                  <c:v>1.1459744817441602</c:v>
                </c:pt>
                <c:pt idx="644">
                  <c:v>1.1480515352621226</c:v>
                </c:pt>
                <c:pt idx="645">
                  <c:v>1.1596857858480518</c:v>
                </c:pt>
                <c:pt idx="646">
                  <c:v>1.1609827885589539</c:v>
                </c:pt>
                <c:pt idx="647">
                  <c:v>1.163867087329828</c:v>
                </c:pt>
                <c:pt idx="648">
                  <c:v>1.1670337120597825</c:v>
                </c:pt>
                <c:pt idx="649">
                  <c:v>1.169584186309466</c:v>
                </c:pt>
                <c:pt idx="650">
                  <c:v>1.1717932498735795</c:v>
                </c:pt>
                <c:pt idx="651">
                  <c:v>1.1736837474124555</c:v>
                </c:pt>
                <c:pt idx="652">
                  <c:v>1.1749548717437068</c:v>
                </c:pt>
                <c:pt idx="653">
                  <c:v>1.1768579868327951</c:v>
                </c:pt>
                <c:pt idx="654">
                  <c:v>1.178423211434011</c:v>
                </c:pt>
                <c:pt idx="655">
                  <c:v>1.1799980665053758</c:v>
                </c:pt>
                <c:pt idx="656">
                  <c:v>1.1815697428341603</c:v>
                </c:pt>
                <c:pt idx="657">
                  <c:v>1.1828113065889376</c:v>
                </c:pt>
                <c:pt idx="658">
                  <c:v>1.1846762999852898</c:v>
                </c:pt>
                <c:pt idx="659">
                  <c:v>1.1856232144082788</c:v>
                </c:pt>
                <c:pt idx="660">
                  <c:v>1.18716946911289</c:v>
                </c:pt>
                <c:pt idx="661">
                  <c:v>1.1890249641457382</c:v>
                </c:pt>
                <c:pt idx="662">
                  <c:v>1.1902662504893298</c:v>
                </c:pt>
                <c:pt idx="663">
                  <c:v>1.1924271879042985</c:v>
                </c:pt>
                <c:pt idx="664">
                  <c:v>1.1939593167120719</c:v>
                </c:pt>
                <c:pt idx="665">
                  <c:v>1.1957989557269773</c:v>
                </c:pt>
                <c:pt idx="666">
                  <c:v>1.1982565919216903</c:v>
                </c:pt>
                <c:pt idx="667">
                  <c:v>1.1997793102083438</c:v>
                </c:pt>
                <c:pt idx="668">
                  <c:v>1.202210603648930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39D-8E4E-8862-0AF599B9CB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99403743"/>
        <c:axId val="1599405615"/>
      </c:scatterChart>
      <c:valAx>
        <c:axId val="15994037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ime [days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9405615"/>
        <c:crosses val="autoZero"/>
        <c:crossBetween val="midCat"/>
      </c:valAx>
      <c:valAx>
        <c:axId val="1599405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volume [L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9403743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rgbClr val="D9D9D9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parison of </a:t>
            </a:r>
            <a:r>
              <a:rPr lang="en-US" baseline="0" dirty="0"/>
              <a:t>Three Samples with Stirred Fermentation Residues</a:t>
            </a:r>
            <a:endParaRPr lang="en-US" dirty="0"/>
          </a:p>
        </c:rich>
      </c:tx>
      <c:overlay val="0"/>
      <c:spPr>
        <a:noFill/>
        <a:ln w="25400">
          <a:noFill/>
        </a:ln>
      </c:spPr>
    </c:title>
    <c:autoTitleDeleted val="0"/>
    <c:plotArea>
      <c:layout/>
      <c:scatterChart>
        <c:scatterStyle val="smoothMarker"/>
        <c:varyColors val="0"/>
        <c:ser>
          <c:idx val="2"/>
          <c:order val="0"/>
          <c:tx>
            <c:v>4</c:v>
          </c:tx>
          <c:marker>
            <c:symbol val="none"/>
          </c:marker>
          <c:xVal>
            <c:numRef>
              <c:f>'7 Gärrest ungerührt'!$D$20:$D$688</c:f>
              <c:numCache>
                <c:formatCode>0</c:formatCode>
                <c:ptCount val="669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  <c:pt idx="668">
                  <c:v>27.833333333333332</c:v>
                </c:pt>
              </c:numCache>
            </c:numRef>
          </c:xVal>
          <c:yVal>
            <c:numRef>
              <c:f>'4 Gärrest gerührt'!$D$20:$D$688</c:f>
              <c:numCache>
                <c:formatCode>General</c:formatCode>
                <c:ptCount val="669"/>
                <c:pt idx="0">
                  <c:v>0</c:v>
                </c:pt>
                <c:pt idx="1">
                  <c:v>94</c:v>
                </c:pt>
                <c:pt idx="2">
                  <c:v>146</c:v>
                </c:pt>
                <c:pt idx="3">
                  <c:v>182</c:v>
                </c:pt>
                <c:pt idx="4">
                  <c:v>205</c:v>
                </c:pt>
                <c:pt idx="5">
                  <c:v>220</c:v>
                </c:pt>
                <c:pt idx="6">
                  <c:v>229</c:v>
                </c:pt>
                <c:pt idx="7">
                  <c:v>236</c:v>
                </c:pt>
                <c:pt idx="8">
                  <c:v>242</c:v>
                </c:pt>
                <c:pt idx="9">
                  <c:v>244</c:v>
                </c:pt>
                <c:pt idx="10">
                  <c:v>249</c:v>
                </c:pt>
                <c:pt idx="11">
                  <c:v>251</c:v>
                </c:pt>
                <c:pt idx="12">
                  <c:v>255</c:v>
                </c:pt>
                <c:pt idx="13">
                  <c:v>257</c:v>
                </c:pt>
                <c:pt idx="14">
                  <c:v>260</c:v>
                </c:pt>
                <c:pt idx="15">
                  <c:v>265</c:v>
                </c:pt>
                <c:pt idx="16">
                  <c:v>268</c:v>
                </c:pt>
                <c:pt idx="17">
                  <c:v>270</c:v>
                </c:pt>
                <c:pt idx="18">
                  <c:v>273</c:v>
                </c:pt>
                <c:pt idx="19">
                  <c:v>255</c:v>
                </c:pt>
                <c:pt idx="20">
                  <c:v>267</c:v>
                </c:pt>
                <c:pt idx="21">
                  <c:v>275</c:v>
                </c:pt>
                <c:pt idx="22">
                  <c:v>281</c:v>
                </c:pt>
                <c:pt idx="23">
                  <c:v>291</c:v>
                </c:pt>
                <c:pt idx="24">
                  <c:v>303</c:v>
                </c:pt>
                <c:pt idx="25">
                  <c:v>311</c:v>
                </c:pt>
                <c:pt idx="26">
                  <c:v>317</c:v>
                </c:pt>
                <c:pt idx="27">
                  <c:v>321</c:v>
                </c:pt>
                <c:pt idx="28">
                  <c:v>326</c:v>
                </c:pt>
                <c:pt idx="29">
                  <c:v>331</c:v>
                </c:pt>
                <c:pt idx="30">
                  <c:v>335</c:v>
                </c:pt>
                <c:pt idx="31">
                  <c:v>338</c:v>
                </c:pt>
                <c:pt idx="32">
                  <c:v>341</c:v>
                </c:pt>
                <c:pt idx="33">
                  <c:v>343</c:v>
                </c:pt>
                <c:pt idx="34">
                  <c:v>346</c:v>
                </c:pt>
                <c:pt idx="35">
                  <c:v>348</c:v>
                </c:pt>
                <c:pt idx="36">
                  <c:v>350</c:v>
                </c:pt>
                <c:pt idx="37">
                  <c:v>352</c:v>
                </c:pt>
                <c:pt idx="38">
                  <c:v>354</c:v>
                </c:pt>
                <c:pt idx="39">
                  <c:v>356</c:v>
                </c:pt>
                <c:pt idx="40">
                  <c:v>358</c:v>
                </c:pt>
                <c:pt idx="41">
                  <c:v>359</c:v>
                </c:pt>
                <c:pt idx="42">
                  <c:v>362</c:v>
                </c:pt>
                <c:pt idx="43">
                  <c:v>364</c:v>
                </c:pt>
                <c:pt idx="44">
                  <c:v>366</c:v>
                </c:pt>
                <c:pt idx="45">
                  <c:v>370</c:v>
                </c:pt>
                <c:pt idx="46">
                  <c:v>374</c:v>
                </c:pt>
                <c:pt idx="47">
                  <c:v>377</c:v>
                </c:pt>
                <c:pt idx="48">
                  <c:v>383</c:v>
                </c:pt>
                <c:pt idx="49">
                  <c:v>391</c:v>
                </c:pt>
                <c:pt idx="50">
                  <c:v>399</c:v>
                </c:pt>
                <c:pt idx="51">
                  <c:v>405</c:v>
                </c:pt>
                <c:pt idx="52">
                  <c:v>405</c:v>
                </c:pt>
                <c:pt idx="53">
                  <c:v>405</c:v>
                </c:pt>
                <c:pt idx="54">
                  <c:v>405</c:v>
                </c:pt>
                <c:pt idx="55">
                  <c:v>406</c:v>
                </c:pt>
                <c:pt idx="56">
                  <c:v>406</c:v>
                </c:pt>
                <c:pt idx="57">
                  <c:v>408</c:v>
                </c:pt>
                <c:pt idx="58">
                  <c:v>408</c:v>
                </c:pt>
                <c:pt idx="59">
                  <c:v>409</c:v>
                </c:pt>
                <c:pt idx="60">
                  <c:v>410</c:v>
                </c:pt>
                <c:pt idx="61">
                  <c:v>411</c:v>
                </c:pt>
                <c:pt idx="62">
                  <c:v>412</c:v>
                </c:pt>
                <c:pt idx="63">
                  <c:v>413</c:v>
                </c:pt>
                <c:pt idx="64">
                  <c:v>414</c:v>
                </c:pt>
                <c:pt idx="65">
                  <c:v>415</c:v>
                </c:pt>
                <c:pt idx="66">
                  <c:v>417</c:v>
                </c:pt>
                <c:pt idx="67">
                  <c:v>415</c:v>
                </c:pt>
                <c:pt idx="68">
                  <c:v>415</c:v>
                </c:pt>
                <c:pt idx="69">
                  <c:v>417</c:v>
                </c:pt>
                <c:pt idx="70">
                  <c:v>420</c:v>
                </c:pt>
                <c:pt idx="71">
                  <c:v>422</c:v>
                </c:pt>
                <c:pt idx="72">
                  <c:v>424</c:v>
                </c:pt>
                <c:pt idx="73">
                  <c:v>416</c:v>
                </c:pt>
                <c:pt idx="74">
                  <c:v>426</c:v>
                </c:pt>
                <c:pt idx="75">
                  <c:v>431</c:v>
                </c:pt>
                <c:pt idx="76">
                  <c:v>436</c:v>
                </c:pt>
                <c:pt idx="77">
                  <c:v>440</c:v>
                </c:pt>
                <c:pt idx="78">
                  <c:v>444</c:v>
                </c:pt>
                <c:pt idx="79">
                  <c:v>447</c:v>
                </c:pt>
                <c:pt idx="80">
                  <c:v>449</c:v>
                </c:pt>
                <c:pt idx="81">
                  <c:v>451</c:v>
                </c:pt>
                <c:pt idx="82">
                  <c:v>452</c:v>
                </c:pt>
                <c:pt idx="83">
                  <c:v>454</c:v>
                </c:pt>
                <c:pt idx="84">
                  <c:v>455</c:v>
                </c:pt>
                <c:pt idx="85">
                  <c:v>456</c:v>
                </c:pt>
                <c:pt idx="86">
                  <c:v>458</c:v>
                </c:pt>
                <c:pt idx="87">
                  <c:v>459</c:v>
                </c:pt>
                <c:pt idx="88">
                  <c:v>460</c:v>
                </c:pt>
                <c:pt idx="89">
                  <c:v>462</c:v>
                </c:pt>
                <c:pt idx="90">
                  <c:v>463</c:v>
                </c:pt>
                <c:pt idx="91">
                  <c:v>465</c:v>
                </c:pt>
                <c:pt idx="92">
                  <c:v>467</c:v>
                </c:pt>
                <c:pt idx="93">
                  <c:v>469</c:v>
                </c:pt>
                <c:pt idx="94">
                  <c:v>472</c:v>
                </c:pt>
                <c:pt idx="95">
                  <c:v>476</c:v>
                </c:pt>
                <c:pt idx="96">
                  <c:v>479</c:v>
                </c:pt>
                <c:pt idx="97">
                  <c:v>479</c:v>
                </c:pt>
                <c:pt idx="98">
                  <c:v>483</c:v>
                </c:pt>
                <c:pt idx="99">
                  <c:v>487</c:v>
                </c:pt>
                <c:pt idx="100">
                  <c:v>491</c:v>
                </c:pt>
                <c:pt idx="101">
                  <c:v>495</c:v>
                </c:pt>
                <c:pt idx="102">
                  <c:v>497</c:v>
                </c:pt>
                <c:pt idx="103">
                  <c:v>500</c:v>
                </c:pt>
                <c:pt idx="104">
                  <c:v>502</c:v>
                </c:pt>
                <c:pt idx="105">
                  <c:v>504</c:v>
                </c:pt>
                <c:pt idx="106">
                  <c:v>506</c:v>
                </c:pt>
                <c:pt idx="107">
                  <c:v>507</c:v>
                </c:pt>
                <c:pt idx="108">
                  <c:v>509</c:v>
                </c:pt>
                <c:pt idx="109">
                  <c:v>510</c:v>
                </c:pt>
                <c:pt idx="110">
                  <c:v>511</c:v>
                </c:pt>
                <c:pt idx="111">
                  <c:v>512</c:v>
                </c:pt>
                <c:pt idx="112">
                  <c:v>513</c:v>
                </c:pt>
                <c:pt idx="113">
                  <c:v>513</c:v>
                </c:pt>
                <c:pt idx="114">
                  <c:v>515</c:v>
                </c:pt>
                <c:pt idx="115">
                  <c:v>516</c:v>
                </c:pt>
                <c:pt idx="116">
                  <c:v>517</c:v>
                </c:pt>
                <c:pt idx="117">
                  <c:v>519</c:v>
                </c:pt>
                <c:pt idx="118">
                  <c:v>522</c:v>
                </c:pt>
                <c:pt idx="119">
                  <c:v>524</c:v>
                </c:pt>
                <c:pt idx="120">
                  <c:v>526</c:v>
                </c:pt>
                <c:pt idx="121">
                  <c:v>529</c:v>
                </c:pt>
                <c:pt idx="122">
                  <c:v>532</c:v>
                </c:pt>
                <c:pt idx="123">
                  <c:v>535</c:v>
                </c:pt>
                <c:pt idx="124">
                  <c:v>538</c:v>
                </c:pt>
                <c:pt idx="125">
                  <c:v>539</c:v>
                </c:pt>
                <c:pt idx="126">
                  <c:v>541</c:v>
                </c:pt>
                <c:pt idx="127">
                  <c:v>542</c:v>
                </c:pt>
                <c:pt idx="128">
                  <c:v>542</c:v>
                </c:pt>
                <c:pt idx="129">
                  <c:v>543</c:v>
                </c:pt>
                <c:pt idx="130">
                  <c:v>544</c:v>
                </c:pt>
                <c:pt idx="131">
                  <c:v>545</c:v>
                </c:pt>
                <c:pt idx="132">
                  <c:v>545</c:v>
                </c:pt>
                <c:pt idx="133">
                  <c:v>546</c:v>
                </c:pt>
                <c:pt idx="134">
                  <c:v>547</c:v>
                </c:pt>
                <c:pt idx="135">
                  <c:v>547</c:v>
                </c:pt>
                <c:pt idx="136">
                  <c:v>548</c:v>
                </c:pt>
                <c:pt idx="137">
                  <c:v>549</c:v>
                </c:pt>
                <c:pt idx="138">
                  <c:v>551</c:v>
                </c:pt>
                <c:pt idx="139">
                  <c:v>551</c:v>
                </c:pt>
                <c:pt idx="140">
                  <c:v>552</c:v>
                </c:pt>
                <c:pt idx="141">
                  <c:v>555</c:v>
                </c:pt>
                <c:pt idx="142">
                  <c:v>557</c:v>
                </c:pt>
                <c:pt idx="143">
                  <c:v>560</c:v>
                </c:pt>
                <c:pt idx="144">
                  <c:v>563</c:v>
                </c:pt>
                <c:pt idx="145">
                  <c:v>567</c:v>
                </c:pt>
                <c:pt idx="146">
                  <c:v>571</c:v>
                </c:pt>
                <c:pt idx="147">
                  <c:v>574</c:v>
                </c:pt>
                <c:pt idx="148">
                  <c:v>577</c:v>
                </c:pt>
                <c:pt idx="149">
                  <c:v>579</c:v>
                </c:pt>
                <c:pt idx="150">
                  <c:v>581</c:v>
                </c:pt>
                <c:pt idx="151">
                  <c:v>582</c:v>
                </c:pt>
                <c:pt idx="152">
                  <c:v>584</c:v>
                </c:pt>
                <c:pt idx="153">
                  <c:v>585</c:v>
                </c:pt>
                <c:pt idx="154">
                  <c:v>586</c:v>
                </c:pt>
                <c:pt idx="155">
                  <c:v>587</c:v>
                </c:pt>
                <c:pt idx="156">
                  <c:v>588</c:v>
                </c:pt>
                <c:pt idx="157">
                  <c:v>589</c:v>
                </c:pt>
                <c:pt idx="158">
                  <c:v>590</c:v>
                </c:pt>
                <c:pt idx="159">
                  <c:v>591</c:v>
                </c:pt>
                <c:pt idx="160">
                  <c:v>593</c:v>
                </c:pt>
                <c:pt idx="161">
                  <c:v>594</c:v>
                </c:pt>
                <c:pt idx="162">
                  <c:v>595</c:v>
                </c:pt>
                <c:pt idx="163">
                  <c:v>598</c:v>
                </c:pt>
                <c:pt idx="164">
                  <c:v>601</c:v>
                </c:pt>
                <c:pt idx="165">
                  <c:v>603</c:v>
                </c:pt>
                <c:pt idx="166">
                  <c:v>605</c:v>
                </c:pt>
                <c:pt idx="167">
                  <c:v>607</c:v>
                </c:pt>
                <c:pt idx="168">
                  <c:v>609</c:v>
                </c:pt>
                <c:pt idx="169">
                  <c:v>605</c:v>
                </c:pt>
                <c:pt idx="170">
                  <c:v>608</c:v>
                </c:pt>
                <c:pt idx="171">
                  <c:v>613</c:v>
                </c:pt>
                <c:pt idx="172">
                  <c:v>617</c:v>
                </c:pt>
                <c:pt idx="173">
                  <c:v>621</c:v>
                </c:pt>
                <c:pt idx="174">
                  <c:v>624</c:v>
                </c:pt>
                <c:pt idx="175">
                  <c:v>626</c:v>
                </c:pt>
                <c:pt idx="176">
                  <c:v>628</c:v>
                </c:pt>
                <c:pt idx="177">
                  <c:v>630</c:v>
                </c:pt>
                <c:pt idx="178">
                  <c:v>632</c:v>
                </c:pt>
                <c:pt idx="179">
                  <c:v>633</c:v>
                </c:pt>
                <c:pt idx="180">
                  <c:v>634</c:v>
                </c:pt>
                <c:pt idx="181">
                  <c:v>635</c:v>
                </c:pt>
                <c:pt idx="182">
                  <c:v>637</c:v>
                </c:pt>
                <c:pt idx="183">
                  <c:v>638</c:v>
                </c:pt>
                <c:pt idx="184">
                  <c:v>638</c:v>
                </c:pt>
                <c:pt idx="185">
                  <c:v>639</c:v>
                </c:pt>
                <c:pt idx="186">
                  <c:v>640</c:v>
                </c:pt>
                <c:pt idx="187">
                  <c:v>641</c:v>
                </c:pt>
                <c:pt idx="188">
                  <c:v>642</c:v>
                </c:pt>
                <c:pt idx="189">
                  <c:v>644</c:v>
                </c:pt>
                <c:pt idx="190">
                  <c:v>644</c:v>
                </c:pt>
                <c:pt idx="191">
                  <c:v>646</c:v>
                </c:pt>
                <c:pt idx="192">
                  <c:v>649</c:v>
                </c:pt>
                <c:pt idx="193">
                  <c:v>652</c:v>
                </c:pt>
                <c:pt idx="194">
                  <c:v>654</c:v>
                </c:pt>
                <c:pt idx="195">
                  <c:v>657</c:v>
                </c:pt>
                <c:pt idx="196">
                  <c:v>659</c:v>
                </c:pt>
                <c:pt idx="197">
                  <c:v>661</c:v>
                </c:pt>
                <c:pt idx="198">
                  <c:v>662</c:v>
                </c:pt>
                <c:pt idx="199">
                  <c:v>663</c:v>
                </c:pt>
                <c:pt idx="200">
                  <c:v>664</c:v>
                </c:pt>
                <c:pt idx="201">
                  <c:v>664</c:v>
                </c:pt>
                <c:pt idx="202">
                  <c:v>664</c:v>
                </c:pt>
                <c:pt idx="203">
                  <c:v>665</c:v>
                </c:pt>
                <c:pt idx="204">
                  <c:v>666</c:v>
                </c:pt>
                <c:pt idx="205">
                  <c:v>667</c:v>
                </c:pt>
                <c:pt idx="206">
                  <c:v>668</c:v>
                </c:pt>
                <c:pt idx="207">
                  <c:v>668</c:v>
                </c:pt>
                <c:pt idx="208">
                  <c:v>669</c:v>
                </c:pt>
                <c:pt idx="209">
                  <c:v>669</c:v>
                </c:pt>
                <c:pt idx="210">
                  <c:v>670</c:v>
                </c:pt>
                <c:pt idx="211">
                  <c:v>672</c:v>
                </c:pt>
                <c:pt idx="212">
                  <c:v>672</c:v>
                </c:pt>
                <c:pt idx="213">
                  <c:v>674</c:v>
                </c:pt>
                <c:pt idx="214">
                  <c:v>676</c:v>
                </c:pt>
                <c:pt idx="215">
                  <c:v>677</c:v>
                </c:pt>
                <c:pt idx="216">
                  <c:v>679</c:v>
                </c:pt>
                <c:pt idx="217">
                  <c:v>681</c:v>
                </c:pt>
                <c:pt idx="218">
                  <c:v>683</c:v>
                </c:pt>
                <c:pt idx="219">
                  <c:v>684</c:v>
                </c:pt>
                <c:pt idx="220">
                  <c:v>686</c:v>
                </c:pt>
                <c:pt idx="221">
                  <c:v>688</c:v>
                </c:pt>
                <c:pt idx="222">
                  <c:v>690</c:v>
                </c:pt>
                <c:pt idx="223">
                  <c:v>690</c:v>
                </c:pt>
                <c:pt idx="224">
                  <c:v>692</c:v>
                </c:pt>
                <c:pt idx="225">
                  <c:v>692</c:v>
                </c:pt>
                <c:pt idx="226">
                  <c:v>693</c:v>
                </c:pt>
                <c:pt idx="227">
                  <c:v>694</c:v>
                </c:pt>
                <c:pt idx="228">
                  <c:v>694</c:v>
                </c:pt>
                <c:pt idx="229">
                  <c:v>695</c:v>
                </c:pt>
                <c:pt idx="230">
                  <c:v>695</c:v>
                </c:pt>
                <c:pt idx="231">
                  <c:v>696</c:v>
                </c:pt>
                <c:pt idx="232">
                  <c:v>697</c:v>
                </c:pt>
                <c:pt idx="233">
                  <c:v>698</c:v>
                </c:pt>
                <c:pt idx="234">
                  <c:v>698</c:v>
                </c:pt>
                <c:pt idx="235">
                  <c:v>700</c:v>
                </c:pt>
                <c:pt idx="236">
                  <c:v>701</c:v>
                </c:pt>
                <c:pt idx="237">
                  <c:v>703</c:v>
                </c:pt>
                <c:pt idx="238">
                  <c:v>704</c:v>
                </c:pt>
                <c:pt idx="239">
                  <c:v>706</c:v>
                </c:pt>
                <c:pt idx="240">
                  <c:v>709</c:v>
                </c:pt>
                <c:pt idx="241">
                  <c:v>712</c:v>
                </c:pt>
                <c:pt idx="242">
                  <c:v>714</c:v>
                </c:pt>
                <c:pt idx="243">
                  <c:v>717</c:v>
                </c:pt>
                <c:pt idx="244">
                  <c:v>719</c:v>
                </c:pt>
                <c:pt idx="245">
                  <c:v>721</c:v>
                </c:pt>
                <c:pt idx="246">
                  <c:v>722</c:v>
                </c:pt>
                <c:pt idx="247">
                  <c:v>723</c:v>
                </c:pt>
                <c:pt idx="248">
                  <c:v>723</c:v>
                </c:pt>
                <c:pt idx="249">
                  <c:v>724</c:v>
                </c:pt>
                <c:pt idx="250">
                  <c:v>725</c:v>
                </c:pt>
                <c:pt idx="251">
                  <c:v>726</c:v>
                </c:pt>
                <c:pt idx="252">
                  <c:v>727</c:v>
                </c:pt>
                <c:pt idx="253">
                  <c:v>727</c:v>
                </c:pt>
                <c:pt idx="254">
                  <c:v>728</c:v>
                </c:pt>
                <c:pt idx="255">
                  <c:v>729</c:v>
                </c:pt>
                <c:pt idx="256">
                  <c:v>729</c:v>
                </c:pt>
                <c:pt idx="257">
                  <c:v>730</c:v>
                </c:pt>
                <c:pt idx="258">
                  <c:v>731</c:v>
                </c:pt>
                <c:pt idx="259">
                  <c:v>732</c:v>
                </c:pt>
                <c:pt idx="260">
                  <c:v>734</c:v>
                </c:pt>
                <c:pt idx="261">
                  <c:v>735</c:v>
                </c:pt>
                <c:pt idx="262">
                  <c:v>737</c:v>
                </c:pt>
                <c:pt idx="263">
                  <c:v>717</c:v>
                </c:pt>
                <c:pt idx="264">
                  <c:v>722</c:v>
                </c:pt>
                <c:pt idx="265">
                  <c:v>728</c:v>
                </c:pt>
                <c:pt idx="266">
                  <c:v>733</c:v>
                </c:pt>
                <c:pt idx="267">
                  <c:v>736</c:v>
                </c:pt>
                <c:pt idx="268">
                  <c:v>737</c:v>
                </c:pt>
                <c:pt idx="269">
                  <c:v>738</c:v>
                </c:pt>
                <c:pt idx="270">
                  <c:v>739</c:v>
                </c:pt>
                <c:pt idx="271">
                  <c:v>739</c:v>
                </c:pt>
                <c:pt idx="272">
                  <c:v>739</c:v>
                </c:pt>
                <c:pt idx="273">
                  <c:v>739</c:v>
                </c:pt>
                <c:pt idx="274">
                  <c:v>739</c:v>
                </c:pt>
                <c:pt idx="275">
                  <c:v>739</c:v>
                </c:pt>
                <c:pt idx="276">
                  <c:v>740</c:v>
                </c:pt>
                <c:pt idx="277">
                  <c:v>740</c:v>
                </c:pt>
                <c:pt idx="278">
                  <c:v>740</c:v>
                </c:pt>
                <c:pt idx="279">
                  <c:v>741</c:v>
                </c:pt>
                <c:pt idx="280">
                  <c:v>741</c:v>
                </c:pt>
                <c:pt idx="281">
                  <c:v>742</c:v>
                </c:pt>
                <c:pt idx="282">
                  <c:v>743</c:v>
                </c:pt>
                <c:pt idx="283">
                  <c:v>744</c:v>
                </c:pt>
                <c:pt idx="284">
                  <c:v>745</c:v>
                </c:pt>
                <c:pt idx="285">
                  <c:v>746</c:v>
                </c:pt>
                <c:pt idx="286">
                  <c:v>747</c:v>
                </c:pt>
                <c:pt idx="287">
                  <c:v>749</c:v>
                </c:pt>
                <c:pt idx="288">
                  <c:v>751</c:v>
                </c:pt>
                <c:pt idx="289">
                  <c:v>752</c:v>
                </c:pt>
                <c:pt idx="290">
                  <c:v>755</c:v>
                </c:pt>
                <c:pt idx="291">
                  <c:v>755</c:v>
                </c:pt>
                <c:pt idx="292">
                  <c:v>757</c:v>
                </c:pt>
                <c:pt idx="293">
                  <c:v>758</c:v>
                </c:pt>
                <c:pt idx="294">
                  <c:v>759</c:v>
                </c:pt>
                <c:pt idx="295">
                  <c:v>759</c:v>
                </c:pt>
                <c:pt idx="296">
                  <c:v>760</c:v>
                </c:pt>
                <c:pt idx="297">
                  <c:v>760</c:v>
                </c:pt>
                <c:pt idx="298">
                  <c:v>761</c:v>
                </c:pt>
                <c:pt idx="299">
                  <c:v>762</c:v>
                </c:pt>
                <c:pt idx="300">
                  <c:v>761</c:v>
                </c:pt>
                <c:pt idx="301">
                  <c:v>762</c:v>
                </c:pt>
                <c:pt idx="302">
                  <c:v>762</c:v>
                </c:pt>
                <c:pt idx="303">
                  <c:v>763</c:v>
                </c:pt>
                <c:pt idx="304">
                  <c:v>764</c:v>
                </c:pt>
                <c:pt idx="305">
                  <c:v>764</c:v>
                </c:pt>
                <c:pt idx="306">
                  <c:v>765</c:v>
                </c:pt>
                <c:pt idx="307">
                  <c:v>766</c:v>
                </c:pt>
                <c:pt idx="308">
                  <c:v>767</c:v>
                </c:pt>
                <c:pt idx="309">
                  <c:v>767</c:v>
                </c:pt>
                <c:pt idx="310">
                  <c:v>768</c:v>
                </c:pt>
                <c:pt idx="311">
                  <c:v>769</c:v>
                </c:pt>
                <c:pt idx="312">
                  <c:v>766</c:v>
                </c:pt>
                <c:pt idx="313">
                  <c:v>767</c:v>
                </c:pt>
                <c:pt idx="314">
                  <c:v>769</c:v>
                </c:pt>
                <c:pt idx="315">
                  <c:v>772</c:v>
                </c:pt>
                <c:pt idx="316">
                  <c:v>773</c:v>
                </c:pt>
                <c:pt idx="317">
                  <c:v>775</c:v>
                </c:pt>
                <c:pt idx="318">
                  <c:v>776</c:v>
                </c:pt>
                <c:pt idx="319">
                  <c:v>776</c:v>
                </c:pt>
                <c:pt idx="320">
                  <c:v>777</c:v>
                </c:pt>
                <c:pt idx="321">
                  <c:v>777</c:v>
                </c:pt>
                <c:pt idx="322">
                  <c:v>777</c:v>
                </c:pt>
                <c:pt idx="323">
                  <c:v>778</c:v>
                </c:pt>
                <c:pt idx="324">
                  <c:v>778</c:v>
                </c:pt>
                <c:pt idx="325">
                  <c:v>779</c:v>
                </c:pt>
                <c:pt idx="326">
                  <c:v>779</c:v>
                </c:pt>
                <c:pt idx="327">
                  <c:v>779</c:v>
                </c:pt>
                <c:pt idx="328">
                  <c:v>780</c:v>
                </c:pt>
                <c:pt idx="329">
                  <c:v>781</c:v>
                </c:pt>
                <c:pt idx="330">
                  <c:v>781</c:v>
                </c:pt>
                <c:pt idx="331">
                  <c:v>782</c:v>
                </c:pt>
                <c:pt idx="332">
                  <c:v>784</c:v>
                </c:pt>
                <c:pt idx="333">
                  <c:v>785</c:v>
                </c:pt>
                <c:pt idx="334">
                  <c:v>787</c:v>
                </c:pt>
                <c:pt idx="335">
                  <c:v>789</c:v>
                </c:pt>
                <c:pt idx="336">
                  <c:v>793</c:v>
                </c:pt>
                <c:pt idx="337">
                  <c:v>798</c:v>
                </c:pt>
                <c:pt idx="338">
                  <c:v>796</c:v>
                </c:pt>
                <c:pt idx="339">
                  <c:v>799</c:v>
                </c:pt>
                <c:pt idx="340">
                  <c:v>805</c:v>
                </c:pt>
                <c:pt idx="341">
                  <c:v>810</c:v>
                </c:pt>
                <c:pt idx="342">
                  <c:v>815</c:v>
                </c:pt>
                <c:pt idx="343">
                  <c:v>818</c:v>
                </c:pt>
                <c:pt idx="344">
                  <c:v>821</c:v>
                </c:pt>
                <c:pt idx="345">
                  <c:v>822</c:v>
                </c:pt>
                <c:pt idx="346">
                  <c:v>824</c:v>
                </c:pt>
                <c:pt idx="347">
                  <c:v>825</c:v>
                </c:pt>
                <c:pt idx="348">
                  <c:v>825</c:v>
                </c:pt>
                <c:pt idx="349">
                  <c:v>825</c:v>
                </c:pt>
                <c:pt idx="350">
                  <c:v>826</c:v>
                </c:pt>
                <c:pt idx="351">
                  <c:v>827</c:v>
                </c:pt>
                <c:pt idx="352">
                  <c:v>826</c:v>
                </c:pt>
                <c:pt idx="353">
                  <c:v>827</c:v>
                </c:pt>
                <c:pt idx="354">
                  <c:v>827</c:v>
                </c:pt>
                <c:pt idx="355">
                  <c:v>827</c:v>
                </c:pt>
                <c:pt idx="356">
                  <c:v>828</c:v>
                </c:pt>
                <c:pt idx="357">
                  <c:v>827</c:v>
                </c:pt>
                <c:pt idx="358">
                  <c:v>835</c:v>
                </c:pt>
                <c:pt idx="359">
                  <c:v>841</c:v>
                </c:pt>
                <c:pt idx="360">
                  <c:v>847</c:v>
                </c:pt>
                <c:pt idx="361">
                  <c:v>852</c:v>
                </c:pt>
                <c:pt idx="362">
                  <c:v>856</c:v>
                </c:pt>
                <c:pt idx="363">
                  <c:v>858</c:v>
                </c:pt>
                <c:pt idx="364">
                  <c:v>861</c:v>
                </c:pt>
                <c:pt idx="365">
                  <c:v>864</c:v>
                </c:pt>
                <c:pt idx="366">
                  <c:v>866</c:v>
                </c:pt>
                <c:pt idx="367">
                  <c:v>867</c:v>
                </c:pt>
                <c:pt idx="368">
                  <c:v>869</c:v>
                </c:pt>
                <c:pt idx="369">
                  <c:v>869</c:v>
                </c:pt>
                <c:pt idx="370">
                  <c:v>870</c:v>
                </c:pt>
                <c:pt idx="371">
                  <c:v>871</c:v>
                </c:pt>
                <c:pt idx="372">
                  <c:v>871</c:v>
                </c:pt>
                <c:pt idx="373">
                  <c:v>872</c:v>
                </c:pt>
                <c:pt idx="374">
                  <c:v>872</c:v>
                </c:pt>
                <c:pt idx="375">
                  <c:v>873</c:v>
                </c:pt>
                <c:pt idx="376">
                  <c:v>872</c:v>
                </c:pt>
                <c:pt idx="377">
                  <c:v>873</c:v>
                </c:pt>
                <c:pt idx="378">
                  <c:v>873</c:v>
                </c:pt>
                <c:pt idx="379">
                  <c:v>873</c:v>
                </c:pt>
                <c:pt idx="380">
                  <c:v>875</c:v>
                </c:pt>
                <c:pt idx="381">
                  <c:v>876</c:v>
                </c:pt>
                <c:pt idx="382">
                  <c:v>876</c:v>
                </c:pt>
                <c:pt idx="383">
                  <c:v>878</c:v>
                </c:pt>
                <c:pt idx="384">
                  <c:v>882</c:v>
                </c:pt>
                <c:pt idx="385">
                  <c:v>886</c:v>
                </c:pt>
                <c:pt idx="386">
                  <c:v>887</c:v>
                </c:pt>
                <c:pt idx="387">
                  <c:v>890</c:v>
                </c:pt>
                <c:pt idx="388">
                  <c:v>891</c:v>
                </c:pt>
                <c:pt idx="389">
                  <c:v>892</c:v>
                </c:pt>
                <c:pt idx="390">
                  <c:v>892</c:v>
                </c:pt>
                <c:pt idx="391">
                  <c:v>892</c:v>
                </c:pt>
                <c:pt idx="392">
                  <c:v>892</c:v>
                </c:pt>
                <c:pt idx="393">
                  <c:v>892</c:v>
                </c:pt>
                <c:pt idx="394">
                  <c:v>892</c:v>
                </c:pt>
                <c:pt idx="395">
                  <c:v>892</c:v>
                </c:pt>
                <c:pt idx="396">
                  <c:v>892</c:v>
                </c:pt>
                <c:pt idx="397">
                  <c:v>892</c:v>
                </c:pt>
                <c:pt idx="398">
                  <c:v>892</c:v>
                </c:pt>
                <c:pt idx="399">
                  <c:v>892</c:v>
                </c:pt>
                <c:pt idx="400">
                  <c:v>893</c:v>
                </c:pt>
                <c:pt idx="401">
                  <c:v>893</c:v>
                </c:pt>
                <c:pt idx="402">
                  <c:v>894</c:v>
                </c:pt>
                <c:pt idx="403">
                  <c:v>895</c:v>
                </c:pt>
                <c:pt idx="404">
                  <c:v>897</c:v>
                </c:pt>
                <c:pt idx="405">
                  <c:v>894</c:v>
                </c:pt>
                <c:pt idx="406">
                  <c:v>895</c:v>
                </c:pt>
                <c:pt idx="407">
                  <c:v>903</c:v>
                </c:pt>
                <c:pt idx="408">
                  <c:v>910</c:v>
                </c:pt>
                <c:pt idx="409">
                  <c:v>915</c:v>
                </c:pt>
                <c:pt idx="410">
                  <c:v>921</c:v>
                </c:pt>
                <c:pt idx="411">
                  <c:v>926</c:v>
                </c:pt>
                <c:pt idx="412">
                  <c:v>929</c:v>
                </c:pt>
                <c:pt idx="413">
                  <c:v>933</c:v>
                </c:pt>
                <c:pt idx="414">
                  <c:v>934</c:v>
                </c:pt>
                <c:pt idx="415">
                  <c:v>936</c:v>
                </c:pt>
                <c:pt idx="416">
                  <c:v>938</c:v>
                </c:pt>
                <c:pt idx="417">
                  <c:v>940</c:v>
                </c:pt>
                <c:pt idx="418">
                  <c:v>941</c:v>
                </c:pt>
                <c:pt idx="419">
                  <c:v>942</c:v>
                </c:pt>
                <c:pt idx="420">
                  <c:v>943</c:v>
                </c:pt>
                <c:pt idx="421">
                  <c:v>943</c:v>
                </c:pt>
                <c:pt idx="422">
                  <c:v>944</c:v>
                </c:pt>
                <c:pt idx="423">
                  <c:v>944</c:v>
                </c:pt>
                <c:pt idx="424">
                  <c:v>945</c:v>
                </c:pt>
                <c:pt idx="425">
                  <c:v>946</c:v>
                </c:pt>
                <c:pt idx="426">
                  <c:v>946</c:v>
                </c:pt>
                <c:pt idx="427">
                  <c:v>948</c:v>
                </c:pt>
                <c:pt idx="428">
                  <c:v>949</c:v>
                </c:pt>
                <c:pt idx="429">
                  <c:v>950</c:v>
                </c:pt>
                <c:pt idx="430">
                  <c:v>953</c:v>
                </c:pt>
                <c:pt idx="431">
                  <c:v>955</c:v>
                </c:pt>
                <c:pt idx="432">
                  <c:v>958</c:v>
                </c:pt>
                <c:pt idx="433">
                  <c:v>960</c:v>
                </c:pt>
                <c:pt idx="434">
                  <c:v>963</c:v>
                </c:pt>
                <c:pt idx="435">
                  <c:v>965</c:v>
                </c:pt>
                <c:pt idx="436">
                  <c:v>966</c:v>
                </c:pt>
                <c:pt idx="437">
                  <c:v>967</c:v>
                </c:pt>
                <c:pt idx="438">
                  <c:v>968</c:v>
                </c:pt>
                <c:pt idx="439">
                  <c:v>967</c:v>
                </c:pt>
                <c:pt idx="440">
                  <c:v>969</c:v>
                </c:pt>
                <c:pt idx="441">
                  <c:v>969</c:v>
                </c:pt>
                <c:pt idx="442">
                  <c:v>969</c:v>
                </c:pt>
                <c:pt idx="443">
                  <c:v>969</c:v>
                </c:pt>
                <c:pt idx="444">
                  <c:v>969</c:v>
                </c:pt>
                <c:pt idx="445">
                  <c:v>969</c:v>
                </c:pt>
                <c:pt idx="446">
                  <c:v>970</c:v>
                </c:pt>
                <c:pt idx="447">
                  <c:v>970</c:v>
                </c:pt>
                <c:pt idx="448">
                  <c:v>971</c:v>
                </c:pt>
                <c:pt idx="449">
                  <c:v>972</c:v>
                </c:pt>
                <c:pt idx="450">
                  <c:v>973</c:v>
                </c:pt>
                <c:pt idx="451">
                  <c:v>974</c:v>
                </c:pt>
                <c:pt idx="452">
                  <c:v>976</c:v>
                </c:pt>
                <c:pt idx="453">
                  <c:v>978</c:v>
                </c:pt>
                <c:pt idx="454">
                  <c:v>980</c:v>
                </c:pt>
                <c:pt idx="455">
                  <c:v>982</c:v>
                </c:pt>
                <c:pt idx="456">
                  <c:v>984</c:v>
                </c:pt>
                <c:pt idx="457">
                  <c:v>987</c:v>
                </c:pt>
                <c:pt idx="458">
                  <c:v>990</c:v>
                </c:pt>
                <c:pt idx="459">
                  <c:v>992</c:v>
                </c:pt>
                <c:pt idx="460">
                  <c:v>994</c:v>
                </c:pt>
                <c:pt idx="461">
                  <c:v>994</c:v>
                </c:pt>
                <c:pt idx="462">
                  <c:v>996</c:v>
                </c:pt>
                <c:pt idx="463">
                  <c:v>996</c:v>
                </c:pt>
                <c:pt idx="464">
                  <c:v>996</c:v>
                </c:pt>
                <c:pt idx="465">
                  <c:v>997</c:v>
                </c:pt>
                <c:pt idx="466">
                  <c:v>998</c:v>
                </c:pt>
                <c:pt idx="467">
                  <c:v>999</c:v>
                </c:pt>
                <c:pt idx="468">
                  <c:v>999</c:v>
                </c:pt>
                <c:pt idx="469">
                  <c:v>999</c:v>
                </c:pt>
                <c:pt idx="470">
                  <c:v>1000</c:v>
                </c:pt>
                <c:pt idx="471">
                  <c:v>1000</c:v>
                </c:pt>
                <c:pt idx="472">
                  <c:v>1001</c:v>
                </c:pt>
                <c:pt idx="473">
                  <c:v>1001</c:v>
                </c:pt>
                <c:pt idx="474">
                  <c:v>1003</c:v>
                </c:pt>
                <c:pt idx="475">
                  <c:v>1005</c:v>
                </c:pt>
                <c:pt idx="476">
                  <c:v>1006</c:v>
                </c:pt>
                <c:pt idx="477">
                  <c:v>1008</c:v>
                </c:pt>
                <c:pt idx="478">
                  <c:v>1010</c:v>
                </c:pt>
                <c:pt idx="479">
                  <c:v>1012</c:v>
                </c:pt>
                <c:pt idx="480">
                  <c:v>1013</c:v>
                </c:pt>
                <c:pt idx="481">
                  <c:v>1014</c:v>
                </c:pt>
                <c:pt idx="482">
                  <c:v>1015</c:v>
                </c:pt>
                <c:pt idx="483">
                  <c:v>1016</c:v>
                </c:pt>
                <c:pt idx="484">
                  <c:v>1016</c:v>
                </c:pt>
                <c:pt idx="485">
                  <c:v>1017</c:v>
                </c:pt>
                <c:pt idx="486">
                  <c:v>1017</c:v>
                </c:pt>
                <c:pt idx="487">
                  <c:v>1018</c:v>
                </c:pt>
                <c:pt idx="488">
                  <c:v>1018</c:v>
                </c:pt>
                <c:pt idx="489">
                  <c:v>1019</c:v>
                </c:pt>
                <c:pt idx="490">
                  <c:v>1019</c:v>
                </c:pt>
                <c:pt idx="491">
                  <c:v>1019</c:v>
                </c:pt>
                <c:pt idx="492">
                  <c:v>1020</c:v>
                </c:pt>
                <c:pt idx="493">
                  <c:v>1020</c:v>
                </c:pt>
                <c:pt idx="494">
                  <c:v>1020</c:v>
                </c:pt>
                <c:pt idx="495">
                  <c:v>1021</c:v>
                </c:pt>
                <c:pt idx="496">
                  <c:v>1021</c:v>
                </c:pt>
                <c:pt idx="497">
                  <c:v>1022</c:v>
                </c:pt>
                <c:pt idx="498">
                  <c:v>1023</c:v>
                </c:pt>
                <c:pt idx="499">
                  <c:v>1023</c:v>
                </c:pt>
                <c:pt idx="500">
                  <c:v>1023</c:v>
                </c:pt>
                <c:pt idx="501">
                  <c:v>1024</c:v>
                </c:pt>
                <c:pt idx="502">
                  <c:v>1026</c:v>
                </c:pt>
                <c:pt idx="503">
                  <c:v>1060</c:v>
                </c:pt>
                <c:pt idx="504">
                  <c:v>1066</c:v>
                </c:pt>
                <c:pt idx="505">
                  <c:v>1070</c:v>
                </c:pt>
                <c:pt idx="506">
                  <c:v>1073</c:v>
                </c:pt>
                <c:pt idx="507">
                  <c:v>1076</c:v>
                </c:pt>
                <c:pt idx="508">
                  <c:v>1078</c:v>
                </c:pt>
                <c:pt idx="509">
                  <c:v>1078</c:v>
                </c:pt>
                <c:pt idx="510">
                  <c:v>1078</c:v>
                </c:pt>
                <c:pt idx="511">
                  <c:v>1079</c:v>
                </c:pt>
                <c:pt idx="512">
                  <c:v>1079</c:v>
                </c:pt>
                <c:pt idx="513">
                  <c:v>1079</c:v>
                </c:pt>
                <c:pt idx="514">
                  <c:v>1080</c:v>
                </c:pt>
                <c:pt idx="515">
                  <c:v>1080</c:v>
                </c:pt>
                <c:pt idx="516">
                  <c:v>1080</c:v>
                </c:pt>
                <c:pt idx="517">
                  <c:v>1080</c:v>
                </c:pt>
                <c:pt idx="518">
                  <c:v>1080</c:v>
                </c:pt>
                <c:pt idx="519">
                  <c:v>1080</c:v>
                </c:pt>
                <c:pt idx="520">
                  <c:v>1081</c:v>
                </c:pt>
                <c:pt idx="521">
                  <c:v>1081</c:v>
                </c:pt>
                <c:pt idx="522">
                  <c:v>1081</c:v>
                </c:pt>
                <c:pt idx="523">
                  <c:v>1082</c:v>
                </c:pt>
                <c:pt idx="524">
                  <c:v>1083</c:v>
                </c:pt>
                <c:pt idx="525">
                  <c:v>1088</c:v>
                </c:pt>
                <c:pt idx="526">
                  <c:v>1090</c:v>
                </c:pt>
                <c:pt idx="527">
                  <c:v>1092</c:v>
                </c:pt>
                <c:pt idx="528">
                  <c:v>1092</c:v>
                </c:pt>
                <c:pt idx="529">
                  <c:v>1095</c:v>
                </c:pt>
                <c:pt idx="530">
                  <c:v>1097</c:v>
                </c:pt>
                <c:pt idx="531">
                  <c:v>1098</c:v>
                </c:pt>
                <c:pt idx="532">
                  <c:v>1099</c:v>
                </c:pt>
                <c:pt idx="533">
                  <c:v>1100</c:v>
                </c:pt>
                <c:pt idx="534">
                  <c:v>1101</c:v>
                </c:pt>
                <c:pt idx="535">
                  <c:v>1101</c:v>
                </c:pt>
                <c:pt idx="536">
                  <c:v>1102</c:v>
                </c:pt>
                <c:pt idx="537">
                  <c:v>1102</c:v>
                </c:pt>
                <c:pt idx="538">
                  <c:v>1103</c:v>
                </c:pt>
                <c:pt idx="539">
                  <c:v>1103</c:v>
                </c:pt>
                <c:pt idx="540">
                  <c:v>1104</c:v>
                </c:pt>
                <c:pt idx="541">
                  <c:v>1104</c:v>
                </c:pt>
                <c:pt idx="542">
                  <c:v>1104</c:v>
                </c:pt>
                <c:pt idx="543">
                  <c:v>1105</c:v>
                </c:pt>
                <c:pt idx="544">
                  <c:v>1105</c:v>
                </c:pt>
                <c:pt idx="545">
                  <c:v>1106</c:v>
                </c:pt>
                <c:pt idx="546">
                  <c:v>1105</c:v>
                </c:pt>
                <c:pt idx="547">
                  <c:v>1106</c:v>
                </c:pt>
                <c:pt idx="548">
                  <c:v>1107</c:v>
                </c:pt>
                <c:pt idx="549">
                  <c:v>1108</c:v>
                </c:pt>
                <c:pt idx="550">
                  <c:v>1107</c:v>
                </c:pt>
                <c:pt idx="551">
                  <c:v>1106</c:v>
                </c:pt>
                <c:pt idx="552">
                  <c:v>1107</c:v>
                </c:pt>
                <c:pt idx="553">
                  <c:v>1107</c:v>
                </c:pt>
                <c:pt idx="554">
                  <c:v>1107</c:v>
                </c:pt>
                <c:pt idx="555">
                  <c:v>1105</c:v>
                </c:pt>
                <c:pt idx="556">
                  <c:v>1106</c:v>
                </c:pt>
                <c:pt idx="557">
                  <c:v>1106</c:v>
                </c:pt>
                <c:pt idx="558">
                  <c:v>1107</c:v>
                </c:pt>
                <c:pt idx="559">
                  <c:v>1109</c:v>
                </c:pt>
                <c:pt idx="560">
                  <c:v>1110</c:v>
                </c:pt>
                <c:pt idx="561">
                  <c:v>1111</c:v>
                </c:pt>
                <c:pt idx="562">
                  <c:v>1112</c:v>
                </c:pt>
                <c:pt idx="563">
                  <c:v>1113</c:v>
                </c:pt>
                <c:pt idx="564">
                  <c:v>1114</c:v>
                </c:pt>
                <c:pt idx="565">
                  <c:v>1115</c:v>
                </c:pt>
                <c:pt idx="566">
                  <c:v>1116</c:v>
                </c:pt>
                <c:pt idx="567">
                  <c:v>1116</c:v>
                </c:pt>
                <c:pt idx="568">
                  <c:v>1117</c:v>
                </c:pt>
                <c:pt idx="569">
                  <c:v>1118</c:v>
                </c:pt>
                <c:pt idx="570">
                  <c:v>1119</c:v>
                </c:pt>
                <c:pt idx="571">
                  <c:v>1119</c:v>
                </c:pt>
                <c:pt idx="572">
                  <c:v>1120</c:v>
                </c:pt>
                <c:pt idx="573">
                  <c:v>1123</c:v>
                </c:pt>
                <c:pt idx="574">
                  <c:v>1124</c:v>
                </c:pt>
                <c:pt idx="575">
                  <c:v>1127</c:v>
                </c:pt>
                <c:pt idx="576">
                  <c:v>1129</c:v>
                </c:pt>
                <c:pt idx="577">
                  <c:v>1132</c:v>
                </c:pt>
                <c:pt idx="578">
                  <c:v>1135</c:v>
                </c:pt>
                <c:pt idx="579">
                  <c:v>1137</c:v>
                </c:pt>
                <c:pt idx="580">
                  <c:v>1137</c:v>
                </c:pt>
                <c:pt idx="581">
                  <c:v>1137</c:v>
                </c:pt>
                <c:pt idx="582">
                  <c:v>1137</c:v>
                </c:pt>
                <c:pt idx="583">
                  <c:v>1137</c:v>
                </c:pt>
                <c:pt idx="584">
                  <c:v>1137</c:v>
                </c:pt>
                <c:pt idx="585">
                  <c:v>1137</c:v>
                </c:pt>
                <c:pt idx="586">
                  <c:v>1137</c:v>
                </c:pt>
                <c:pt idx="587">
                  <c:v>1137</c:v>
                </c:pt>
                <c:pt idx="588">
                  <c:v>1137</c:v>
                </c:pt>
                <c:pt idx="589">
                  <c:v>1137</c:v>
                </c:pt>
                <c:pt idx="590">
                  <c:v>1137</c:v>
                </c:pt>
                <c:pt idx="591">
                  <c:v>1137</c:v>
                </c:pt>
                <c:pt idx="592">
                  <c:v>1137</c:v>
                </c:pt>
                <c:pt idx="593">
                  <c:v>1137</c:v>
                </c:pt>
                <c:pt idx="594">
                  <c:v>1137</c:v>
                </c:pt>
                <c:pt idx="595">
                  <c:v>1137</c:v>
                </c:pt>
                <c:pt idx="596">
                  <c:v>1137</c:v>
                </c:pt>
                <c:pt idx="597">
                  <c:v>1137</c:v>
                </c:pt>
                <c:pt idx="598">
                  <c:v>1137</c:v>
                </c:pt>
                <c:pt idx="599">
                  <c:v>1137</c:v>
                </c:pt>
                <c:pt idx="600">
                  <c:v>1158</c:v>
                </c:pt>
                <c:pt idx="601">
                  <c:v>1165</c:v>
                </c:pt>
                <c:pt idx="602">
                  <c:v>1168</c:v>
                </c:pt>
                <c:pt idx="603">
                  <c:v>1171</c:v>
                </c:pt>
                <c:pt idx="604">
                  <c:v>1172</c:v>
                </c:pt>
                <c:pt idx="605">
                  <c:v>1174</c:v>
                </c:pt>
                <c:pt idx="606">
                  <c:v>1175</c:v>
                </c:pt>
                <c:pt idx="607">
                  <c:v>1175</c:v>
                </c:pt>
                <c:pt idx="608">
                  <c:v>1176</c:v>
                </c:pt>
                <c:pt idx="609">
                  <c:v>1177</c:v>
                </c:pt>
                <c:pt idx="610">
                  <c:v>1178</c:v>
                </c:pt>
                <c:pt idx="611">
                  <c:v>1179</c:v>
                </c:pt>
                <c:pt idx="612">
                  <c:v>1179</c:v>
                </c:pt>
                <c:pt idx="613">
                  <c:v>1180</c:v>
                </c:pt>
                <c:pt idx="614">
                  <c:v>1181</c:v>
                </c:pt>
                <c:pt idx="615">
                  <c:v>1181</c:v>
                </c:pt>
                <c:pt idx="616">
                  <c:v>1182</c:v>
                </c:pt>
                <c:pt idx="617">
                  <c:v>1183</c:v>
                </c:pt>
                <c:pt idx="618">
                  <c:v>1184</c:v>
                </c:pt>
                <c:pt idx="619">
                  <c:v>1185</c:v>
                </c:pt>
                <c:pt idx="620">
                  <c:v>1187</c:v>
                </c:pt>
                <c:pt idx="621">
                  <c:v>1189</c:v>
                </c:pt>
                <c:pt idx="622">
                  <c:v>1191</c:v>
                </c:pt>
                <c:pt idx="623">
                  <c:v>1193</c:v>
                </c:pt>
                <c:pt idx="624">
                  <c:v>1195</c:v>
                </c:pt>
                <c:pt idx="625">
                  <c:v>1196</c:v>
                </c:pt>
                <c:pt idx="626">
                  <c:v>1198</c:v>
                </c:pt>
                <c:pt idx="627">
                  <c:v>1200</c:v>
                </c:pt>
                <c:pt idx="628">
                  <c:v>1201</c:v>
                </c:pt>
                <c:pt idx="629">
                  <c:v>1202</c:v>
                </c:pt>
                <c:pt idx="630">
                  <c:v>1203</c:v>
                </c:pt>
                <c:pt idx="631">
                  <c:v>1204</c:v>
                </c:pt>
                <c:pt idx="632">
                  <c:v>1205</c:v>
                </c:pt>
                <c:pt idx="633">
                  <c:v>1206</c:v>
                </c:pt>
                <c:pt idx="634">
                  <c:v>1206</c:v>
                </c:pt>
                <c:pt idx="635">
                  <c:v>1207</c:v>
                </c:pt>
                <c:pt idx="636">
                  <c:v>1208</c:v>
                </c:pt>
                <c:pt idx="637">
                  <c:v>1208</c:v>
                </c:pt>
                <c:pt idx="638">
                  <c:v>1209</c:v>
                </c:pt>
                <c:pt idx="639">
                  <c:v>1209</c:v>
                </c:pt>
                <c:pt idx="640">
                  <c:v>1210</c:v>
                </c:pt>
                <c:pt idx="641">
                  <c:v>1211</c:v>
                </c:pt>
                <c:pt idx="642">
                  <c:v>1212</c:v>
                </c:pt>
                <c:pt idx="643">
                  <c:v>1213</c:v>
                </c:pt>
                <c:pt idx="644">
                  <c:v>1214</c:v>
                </c:pt>
                <c:pt idx="645">
                  <c:v>1216</c:v>
                </c:pt>
                <c:pt idx="646">
                  <c:v>1218</c:v>
                </c:pt>
                <c:pt idx="647">
                  <c:v>1221</c:v>
                </c:pt>
                <c:pt idx="648">
                  <c:v>1223</c:v>
                </c:pt>
                <c:pt idx="649">
                  <c:v>1225</c:v>
                </c:pt>
                <c:pt idx="650">
                  <c:v>1227</c:v>
                </c:pt>
                <c:pt idx="651">
                  <c:v>1229</c:v>
                </c:pt>
                <c:pt idx="652">
                  <c:v>1231</c:v>
                </c:pt>
                <c:pt idx="653">
                  <c:v>1232</c:v>
                </c:pt>
                <c:pt idx="654">
                  <c:v>1232</c:v>
                </c:pt>
                <c:pt idx="655">
                  <c:v>1233</c:v>
                </c:pt>
                <c:pt idx="656">
                  <c:v>1232</c:v>
                </c:pt>
                <c:pt idx="657">
                  <c:v>1233</c:v>
                </c:pt>
                <c:pt idx="658">
                  <c:v>1233</c:v>
                </c:pt>
                <c:pt idx="659">
                  <c:v>1233</c:v>
                </c:pt>
                <c:pt idx="660">
                  <c:v>1234</c:v>
                </c:pt>
                <c:pt idx="661">
                  <c:v>1234</c:v>
                </c:pt>
                <c:pt idx="662">
                  <c:v>1234</c:v>
                </c:pt>
                <c:pt idx="663">
                  <c:v>1235</c:v>
                </c:pt>
                <c:pt idx="664">
                  <c:v>1236</c:v>
                </c:pt>
                <c:pt idx="665">
                  <c:v>1236</c:v>
                </c:pt>
                <c:pt idx="666">
                  <c:v>1237</c:v>
                </c:pt>
                <c:pt idx="667">
                  <c:v>1238</c:v>
                </c:pt>
                <c:pt idx="668">
                  <c:v>123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4261-984E-B5EB-B3A1A32F46EB}"/>
            </c:ext>
          </c:extLst>
        </c:ser>
        <c:ser>
          <c:idx val="0"/>
          <c:order val="1"/>
          <c:tx>
            <c:v>5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'7 Gärrest ungerührt'!$D$20:$D$688</c:f>
              <c:numCache>
                <c:formatCode>0</c:formatCode>
                <c:ptCount val="669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  <c:pt idx="668">
                  <c:v>27.833333333333332</c:v>
                </c:pt>
              </c:numCache>
            </c:numRef>
          </c:xVal>
          <c:yVal>
            <c:numRef>
              <c:f>'5 Gärrest gerührt'!$E$20:$E$688</c:f>
              <c:numCache>
                <c:formatCode>General</c:formatCode>
                <c:ptCount val="669"/>
                <c:pt idx="0">
                  <c:v>0</c:v>
                </c:pt>
                <c:pt idx="1">
                  <c:v>99</c:v>
                </c:pt>
                <c:pt idx="2">
                  <c:v>154</c:v>
                </c:pt>
                <c:pt idx="3">
                  <c:v>196</c:v>
                </c:pt>
                <c:pt idx="4">
                  <c:v>223</c:v>
                </c:pt>
                <c:pt idx="5">
                  <c:v>240</c:v>
                </c:pt>
                <c:pt idx="6">
                  <c:v>250</c:v>
                </c:pt>
                <c:pt idx="7">
                  <c:v>257</c:v>
                </c:pt>
                <c:pt idx="8">
                  <c:v>263</c:v>
                </c:pt>
                <c:pt idx="9">
                  <c:v>267</c:v>
                </c:pt>
                <c:pt idx="10">
                  <c:v>272</c:v>
                </c:pt>
                <c:pt idx="11">
                  <c:v>275</c:v>
                </c:pt>
                <c:pt idx="12">
                  <c:v>279</c:v>
                </c:pt>
                <c:pt idx="13">
                  <c:v>282</c:v>
                </c:pt>
                <c:pt idx="14">
                  <c:v>286</c:v>
                </c:pt>
                <c:pt idx="15">
                  <c:v>289</c:v>
                </c:pt>
                <c:pt idx="16">
                  <c:v>293</c:v>
                </c:pt>
                <c:pt idx="17">
                  <c:v>296</c:v>
                </c:pt>
                <c:pt idx="18">
                  <c:v>299</c:v>
                </c:pt>
                <c:pt idx="19">
                  <c:v>304</c:v>
                </c:pt>
                <c:pt idx="20">
                  <c:v>317</c:v>
                </c:pt>
                <c:pt idx="21">
                  <c:v>326</c:v>
                </c:pt>
                <c:pt idx="22">
                  <c:v>332</c:v>
                </c:pt>
                <c:pt idx="23">
                  <c:v>342</c:v>
                </c:pt>
                <c:pt idx="24">
                  <c:v>352</c:v>
                </c:pt>
                <c:pt idx="25">
                  <c:v>361</c:v>
                </c:pt>
                <c:pt idx="26">
                  <c:v>368</c:v>
                </c:pt>
                <c:pt idx="27">
                  <c:v>372</c:v>
                </c:pt>
                <c:pt idx="28">
                  <c:v>378</c:v>
                </c:pt>
                <c:pt idx="29">
                  <c:v>383</c:v>
                </c:pt>
                <c:pt idx="30">
                  <c:v>387</c:v>
                </c:pt>
                <c:pt idx="31">
                  <c:v>391</c:v>
                </c:pt>
                <c:pt idx="32">
                  <c:v>394</c:v>
                </c:pt>
                <c:pt idx="33">
                  <c:v>397</c:v>
                </c:pt>
                <c:pt idx="34">
                  <c:v>400</c:v>
                </c:pt>
                <c:pt idx="35">
                  <c:v>402</c:v>
                </c:pt>
                <c:pt idx="36">
                  <c:v>404</c:v>
                </c:pt>
                <c:pt idx="37">
                  <c:v>406</c:v>
                </c:pt>
                <c:pt idx="38">
                  <c:v>408</c:v>
                </c:pt>
                <c:pt idx="39">
                  <c:v>410</c:v>
                </c:pt>
                <c:pt idx="40">
                  <c:v>412</c:v>
                </c:pt>
                <c:pt idx="41">
                  <c:v>414</c:v>
                </c:pt>
                <c:pt idx="42">
                  <c:v>417</c:v>
                </c:pt>
                <c:pt idx="43">
                  <c:v>420</c:v>
                </c:pt>
                <c:pt idx="44">
                  <c:v>422</c:v>
                </c:pt>
                <c:pt idx="45">
                  <c:v>426</c:v>
                </c:pt>
                <c:pt idx="46">
                  <c:v>431</c:v>
                </c:pt>
                <c:pt idx="47">
                  <c:v>434</c:v>
                </c:pt>
                <c:pt idx="48">
                  <c:v>440</c:v>
                </c:pt>
                <c:pt idx="49">
                  <c:v>448</c:v>
                </c:pt>
                <c:pt idx="50">
                  <c:v>457</c:v>
                </c:pt>
                <c:pt idx="51">
                  <c:v>464</c:v>
                </c:pt>
                <c:pt idx="52">
                  <c:v>466</c:v>
                </c:pt>
                <c:pt idx="53">
                  <c:v>466</c:v>
                </c:pt>
                <c:pt idx="54">
                  <c:v>467</c:v>
                </c:pt>
                <c:pt idx="55">
                  <c:v>468</c:v>
                </c:pt>
                <c:pt idx="56">
                  <c:v>468</c:v>
                </c:pt>
                <c:pt idx="57">
                  <c:v>470</c:v>
                </c:pt>
                <c:pt idx="58">
                  <c:v>471</c:v>
                </c:pt>
                <c:pt idx="59">
                  <c:v>472</c:v>
                </c:pt>
                <c:pt idx="60">
                  <c:v>473</c:v>
                </c:pt>
                <c:pt idx="61">
                  <c:v>474</c:v>
                </c:pt>
                <c:pt idx="62">
                  <c:v>476</c:v>
                </c:pt>
                <c:pt idx="63">
                  <c:v>477</c:v>
                </c:pt>
                <c:pt idx="64">
                  <c:v>479</c:v>
                </c:pt>
                <c:pt idx="65">
                  <c:v>481</c:v>
                </c:pt>
                <c:pt idx="66">
                  <c:v>483</c:v>
                </c:pt>
                <c:pt idx="67">
                  <c:v>482</c:v>
                </c:pt>
                <c:pt idx="68">
                  <c:v>483</c:v>
                </c:pt>
                <c:pt idx="69">
                  <c:v>485</c:v>
                </c:pt>
                <c:pt idx="70">
                  <c:v>488</c:v>
                </c:pt>
                <c:pt idx="71">
                  <c:v>490</c:v>
                </c:pt>
                <c:pt idx="72">
                  <c:v>492</c:v>
                </c:pt>
                <c:pt idx="73">
                  <c:v>496</c:v>
                </c:pt>
                <c:pt idx="74">
                  <c:v>505</c:v>
                </c:pt>
                <c:pt idx="75">
                  <c:v>509</c:v>
                </c:pt>
                <c:pt idx="76">
                  <c:v>514</c:v>
                </c:pt>
                <c:pt idx="77">
                  <c:v>519</c:v>
                </c:pt>
                <c:pt idx="78">
                  <c:v>522</c:v>
                </c:pt>
                <c:pt idx="79">
                  <c:v>525</c:v>
                </c:pt>
                <c:pt idx="80">
                  <c:v>527</c:v>
                </c:pt>
                <c:pt idx="81">
                  <c:v>529</c:v>
                </c:pt>
                <c:pt idx="82">
                  <c:v>531</c:v>
                </c:pt>
                <c:pt idx="83">
                  <c:v>532</c:v>
                </c:pt>
                <c:pt idx="84">
                  <c:v>534</c:v>
                </c:pt>
                <c:pt idx="85">
                  <c:v>535</c:v>
                </c:pt>
                <c:pt idx="86">
                  <c:v>536</c:v>
                </c:pt>
                <c:pt idx="87">
                  <c:v>538</c:v>
                </c:pt>
                <c:pt idx="88">
                  <c:v>539</c:v>
                </c:pt>
                <c:pt idx="89">
                  <c:v>541</c:v>
                </c:pt>
                <c:pt idx="90">
                  <c:v>542</c:v>
                </c:pt>
                <c:pt idx="91">
                  <c:v>544</c:v>
                </c:pt>
                <c:pt idx="92">
                  <c:v>546</c:v>
                </c:pt>
                <c:pt idx="93">
                  <c:v>548</c:v>
                </c:pt>
                <c:pt idx="94">
                  <c:v>552</c:v>
                </c:pt>
                <c:pt idx="95">
                  <c:v>557</c:v>
                </c:pt>
                <c:pt idx="96">
                  <c:v>560</c:v>
                </c:pt>
                <c:pt idx="97">
                  <c:v>561</c:v>
                </c:pt>
                <c:pt idx="98">
                  <c:v>565</c:v>
                </c:pt>
                <c:pt idx="99">
                  <c:v>569</c:v>
                </c:pt>
                <c:pt idx="100">
                  <c:v>573</c:v>
                </c:pt>
                <c:pt idx="101">
                  <c:v>576</c:v>
                </c:pt>
                <c:pt idx="102">
                  <c:v>578</c:v>
                </c:pt>
                <c:pt idx="103">
                  <c:v>581</c:v>
                </c:pt>
                <c:pt idx="104">
                  <c:v>583</c:v>
                </c:pt>
                <c:pt idx="105">
                  <c:v>585</c:v>
                </c:pt>
                <c:pt idx="106">
                  <c:v>587</c:v>
                </c:pt>
                <c:pt idx="107">
                  <c:v>588</c:v>
                </c:pt>
                <c:pt idx="108">
                  <c:v>590</c:v>
                </c:pt>
                <c:pt idx="109">
                  <c:v>591</c:v>
                </c:pt>
                <c:pt idx="110">
                  <c:v>593</c:v>
                </c:pt>
                <c:pt idx="111">
                  <c:v>593</c:v>
                </c:pt>
                <c:pt idx="112">
                  <c:v>594</c:v>
                </c:pt>
                <c:pt idx="113">
                  <c:v>595</c:v>
                </c:pt>
                <c:pt idx="114">
                  <c:v>596</c:v>
                </c:pt>
                <c:pt idx="115">
                  <c:v>598</c:v>
                </c:pt>
                <c:pt idx="116">
                  <c:v>599</c:v>
                </c:pt>
                <c:pt idx="117">
                  <c:v>601</c:v>
                </c:pt>
                <c:pt idx="118">
                  <c:v>603</c:v>
                </c:pt>
                <c:pt idx="119">
                  <c:v>605</c:v>
                </c:pt>
                <c:pt idx="120">
                  <c:v>608</c:v>
                </c:pt>
                <c:pt idx="121">
                  <c:v>612</c:v>
                </c:pt>
                <c:pt idx="122">
                  <c:v>615</c:v>
                </c:pt>
                <c:pt idx="123">
                  <c:v>618</c:v>
                </c:pt>
                <c:pt idx="124">
                  <c:v>620</c:v>
                </c:pt>
                <c:pt idx="125">
                  <c:v>622</c:v>
                </c:pt>
                <c:pt idx="126">
                  <c:v>624</c:v>
                </c:pt>
                <c:pt idx="127">
                  <c:v>624</c:v>
                </c:pt>
                <c:pt idx="128">
                  <c:v>626</c:v>
                </c:pt>
                <c:pt idx="129">
                  <c:v>626</c:v>
                </c:pt>
                <c:pt idx="130">
                  <c:v>626</c:v>
                </c:pt>
                <c:pt idx="131">
                  <c:v>628</c:v>
                </c:pt>
                <c:pt idx="132">
                  <c:v>629</c:v>
                </c:pt>
                <c:pt idx="133">
                  <c:v>629</c:v>
                </c:pt>
                <c:pt idx="134">
                  <c:v>629</c:v>
                </c:pt>
                <c:pt idx="135">
                  <c:v>630</c:v>
                </c:pt>
                <c:pt idx="136">
                  <c:v>631</c:v>
                </c:pt>
                <c:pt idx="137">
                  <c:v>632</c:v>
                </c:pt>
                <c:pt idx="138">
                  <c:v>633</c:v>
                </c:pt>
                <c:pt idx="139">
                  <c:v>635</c:v>
                </c:pt>
                <c:pt idx="140">
                  <c:v>636</c:v>
                </c:pt>
                <c:pt idx="141">
                  <c:v>638</c:v>
                </c:pt>
                <c:pt idx="142">
                  <c:v>641</c:v>
                </c:pt>
                <c:pt idx="143">
                  <c:v>644</c:v>
                </c:pt>
                <c:pt idx="144">
                  <c:v>646</c:v>
                </c:pt>
                <c:pt idx="145">
                  <c:v>650</c:v>
                </c:pt>
                <c:pt idx="146">
                  <c:v>653</c:v>
                </c:pt>
                <c:pt idx="147">
                  <c:v>657</c:v>
                </c:pt>
                <c:pt idx="148">
                  <c:v>660</c:v>
                </c:pt>
                <c:pt idx="149">
                  <c:v>662</c:v>
                </c:pt>
                <c:pt idx="150">
                  <c:v>665</c:v>
                </c:pt>
                <c:pt idx="151">
                  <c:v>666</c:v>
                </c:pt>
                <c:pt idx="152">
                  <c:v>667</c:v>
                </c:pt>
                <c:pt idx="153">
                  <c:v>669</c:v>
                </c:pt>
                <c:pt idx="154">
                  <c:v>669</c:v>
                </c:pt>
                <c:pt idx="155">
                  <c:v>671</c:v>
                </c:pt>
                <c:pt idx="156">
                  <c:v>672</c:v>
                </c:pt>
                <c:pt idx="157">
                  <c:v>672</c:v>
                </c:pt>
                <c:pt idx="158">
                  <c:v>674</c:v>
                </c:pt>
                <c:pt idx="159">
                  <c:v>676</c:v>
                </c:pt>
                <c:pt idx="160">
                  <c:v>676</c:v>
                </c:pt>
                <c:pt idx="161">
                  <c:v>678</c:v>
                </c:pt>
                <c:pt idx="162">
                  <c:v>679</c:v>
                </c:pt>
                <c:pt idx="163">
                  <c:v>681</c:v>
                </c:pt>
                <c:pt idx="164">
                  <c:v>684</c:v>
                </c:pt>
                <c:pt idx="165">
                  <c:v>687</c:v>
                </c:pt>
                <c:pt idx="166">
                  <c:v>688</c:v>
                </c:pt>
                <c:pt idx="167">
                  <c:v>691</c:v>
                </c:pt>
                <c:pt idx="168">
                  <c:v>693</c:v>
                </c:pt>
                <c:pt idx="169">
                  <c:v>699</c:v>
                </c:pt>
                <c:pt idx="170">
                  <c:v>705</c:v>
                </c:pt>
                <c:pt idx="171">
                  <c:v>710</c:v>
                </c:pt>
                <c:pt idx="172">
                  <c:v>715</c:v>
                </c:pt>
                <c:pt idx="173">
                  <c:v>718</c:v>
                </c:pt>
                <c:pt idx="174">
                  <c:v>720</c:v>
                </c:pt>
                <c:pt idx="175">
                  <c:v>723</c:v>
                </c:pt>
                <c:pt idx="176">
                  <c:v>726</c:v>
                </c:pt>
                <c:pt idx="177">
                  <c:v>728</c:v>
                </c:pt>
                <c:pt idx="178">
                  <c:v>729</c:v>
                </c:pt>
                <c:pt idx="179">
                  <c:v>730</c:v>
                </c:pt>
                <c:pt idx="180">
                  <c:v>732</c:v>
                </c:pt>
                <c:pt idx="181">
                  <c:v>733</c:v>
                </c:pt>
                <c:pt idx="182">
                  <c:v>734</c:v>
                </c:pt>
                <c:pt idx="183">
                  <c:v>736</c:v>
                </c:pt>
                <c:pt idx="184">
                  <c:v>736</c:v>
                </c:pt>
                <c:pt idx="185">
                  <c:v>737</c:v>
                </c:pt>
                <c:pt idx="186">
                  <c:v>738</c:v>
                </c:pt>
                <c:pt idx="187">
                  <c:v>738</c:v>
                </c:pt>
                <c:pt idx="188">
                  <c:v>739</c:v>
                </c:pt>
                <c:pt idx="189">
                  <c:v>741</c:v>
                </c:pt>
                <c:pt idx="190">
                  <c:v>742</c:v>
                </c:pt>
                <c:pt idx="191">
                  <c:v>744</c:v>
                </c:pt>
                <c:pt idx="192">
                  <c:v>747</c:v>
                </c:pt>
                <c:pt idx="193">
                  <c:v>749</c:v>
                </c:pt>
                <c:pt idx="194">
                  <c:v>752</c:v>
                </c:pt>
                <c:pt idx="195">
                  <c:v>754</c:v>
                </c:pt>
                <c:pt idx="196">
                  <c:v>756</c:v>
                </c:pt>
                <c:pt idx="197">
                  <c:v>758</c:v>
                </c:pt>
                <c:pt idx="198">
                  <c:v>759</c:v>
                </c:pt>
                <c:pt idx="199">
                  <c:v>760</c:v>
                </c:pt>
                <c:pt idx="200">
                  <c:v>761</c:v>
                </c:pt>
                <c:pt idx="201">
                  <c:v>761</c:v>
                </c:pt>
                <c:pt idx="202">
                  <c:v>762</c:v>
                </c:pt>
                <c:pt idx="203">
                  <c:v>763</c:v>
                </c:pt>
                <c:pt idx="204">
                  <c:v>763</c:v>
                </c:pt>
                <c:pt idx="205">
                  <c:v>764</c:v>
                </c:pt>
                <c:pt idx="206">
                  <c:v>764</c:v>
                </c:pt>
                <c:pt idx="207">
                  <c:v>765</c:v>
                </c:pt>
                <c:pt idx="208">
                  <c:v>765</c:v>
                </c:pt>
                <c:pt idx="209">
                  <c:v>766</c:v>
                </c:pt>
                <c:pt idx="210">
                  <c:v>767</c:v>
                </c:pt>
                <c:pt idx="211">
                  <c:v>769</c:v>
                </c:pt>
                <c:pt idx="212">
                  <c:v>770</c:v>
                </c:pt>
                <c:pt idx="213">
                  <c:v>772</c:v>
                </c:pt>
                <c:pt idx="214">
                  <c:v>774</c:v>
                </c:pt>
                <c:pt idx="215">
                  <c:v>775</c:v>
                </c:pt>
                <c:pt idx="216">
                  <c:v>778</c:v>
                </c:pt>
                <c:pt idx="217">
                  <c:v>780</c:v>
                </c:pt>
                <c:pt idx="218">
                  <c:v>782</c:v>
                </c:pt>
                <c:pt idx="219">
                  <c:v>783</c:v>
                </c:pt>
                <c:pt idx="220">
                  <c:v>785</c:v>
                </c:pt>
                <c:pt idx="221">
                  <c:v>787</c:v>
                </c:pt>
                <c:pt idx="222">
                  <c:v>788</c:v>
                </c:pt>
                <c:pt idx="223">
                  <c:v>789</c:v>
                </c:pt>
                <c:pt idx="224">
                  <c:v>790</c:v>
                </c:pt>
                <c:pt idx="225">
                  <c:v>791</c:v>
                </c:pt>
                <c:pt idx="226">
                  <c:v>791</c:v>
                </c:pt>
                <c:pt idx="227">
                  <c:v>792</c:v>
                </c:pt>
                <c:pt idx="228">
                  <c:v>793</c:v>
                </c:pt>
                <c:pt idx="229">
                  <c:v>793</c:v>
                </c:pt>
                <c:pt idx="230">
                  <c:v>794</c:v>
                </c:pt>
                <c:pt idx="231">
                  <c:v>794</c:v>
                </c:pt>
                <c:pt idx="232">
                  <c:v>795</c:v>
                </c:pt>
                <c:pt idx="233">
                  <c:v>797</c:v>
                </c:pt>
                <c:pt idx="234">
                  <c:v>797</c:v>
                </c:pt>
                <c:pt idx="235">
                  <c:v>798</c:v>
                </c:pt>
                <c:pt idx="236">
                  <c:v>800</c:v>
                </c:pt>
                <c:pt idx="237">
                  <c:v>801</c:v>
                </c:pt>
                <c:pt idx="238">
                  <c:v>804</c:v>
                </c:pt>
                <c:pt idx="239">
                  <c:v>806</c:v>
                </c:pt>
                <c:pt idx="240">
                  <c:v>809</c:v>
                </c:pt>
                <c:pt idx="241">
                  <c:v>812</c:v>
                </c:pt>
                <c:pt idx="242">
                  <c:v>814</c:v>
                </c:pt>
                <c:pt idx="243">
                  <c:v>819</c:v>
                </c:pt>
                <c:pt idx="244">
                  <c:v>819</c:v>
                </c:pt>
                <c:pt idx="245">
                  <c:v>820</c:v>
                </c:pt>
                <c:pt idx="246">
                  <c:v>821</c:v>
                </c:pt>
                <c:pt idx="247">
                  <c:v>823</c:v>
                </c:pt>
                <c:pt idx="248">
                  <c:v>822</c:v>
                </c:pt>
                <c:pt idx="249">
                  <c:v>824</c:v>
                </c:pt>
                <c:pt idx="250">
                  <c:v>825</c:v>
                </c:pt>
                <c:pt idx="251">
                  <c:v>824</c:v>
                </c:pt>
                <c:pt idx="252">
                  <c:v>825</c:v>
                </c:pt>
                <c:pt idx="253">
                  <c:v>827</c:v>
                </c:pt>
                <c:pt idx="254">
                  <c:v>827</c:v>
                </c:pt>
                <c:pt idx="255">
                  <c:v>828</c:v>
                </c:pt>
                <c:pt idx="256">
                  <c:v>828</c:v>
                </c:pt>
                <c:pt idx="257">
                  <c:v>829</c:v>
                </c:pt>
                <c:pt idx="258">
                  <c:v>830</c:v>
                </c:pt>
                <c:pt idx="259">
                  <c:v>831</c:v>
                </c:pt>
                <c:pt idx="260">
                  <c:v>833</c:v>
                </c:pt>
                <c:pt idx="261">
                  <c:v>835</c:v>
                </c:pt>
                <c:pt idx="262">
                  <c:v>837</c:v>
                </c:pt>
                <c:pt idx="263">
                  <c:v>819</c:v>
                </c:pt>
                <c:pt idx="264">
                  <c:v>823</c:v>
                </c:pt>
                <c:pt idx="265">
                  <c:v>829</c:v>
                </c:pt>
                <c:pt idx="266">
                  <c:v>834</c:v>
                </c:pt>
                <c:pt idx="267">
                  <c:v>837</c:v>
                </c:pt>
                <c:pt idx="268">
                  <c:v>838</c:v>
                </c:pt>
                <c:pt idx="269">
                  <c:v>839</c:v>
                </c:pt>
                <c:pt idx="270">
                  <c:v>839</c:v>
                </c:pt>
                <c:pt idx="271">
                  <c:v>839</c:v>
                </c:pt>
                <c:pt idx="272">
                  <c:v>839</c:v>
                </c:pt>
                <c:pt idx="273">
                  <c:v>839</c:v>
                </c:pt>
                <c:pt idx="274">
                  <c:v>839</c:v>
                </c:pt>
                <c:pt idx="275">
                  <c:v>839</c:v>
                </c:pt>
                <c:pt idx="276">
                  <c:v>840</c:v>
                </c:pt>
                <c:pt idx="277">
                  <c:v>840</c:v>
                </c:pt>
                <c:pt idx="278">
                  <c:v>841</c:v>
                </c:pt>
                <c:pt idx="279">
                  <c:v>841</c:v>
                </c:pt>
                <c:pt idx="280">
                  <c:v>842</c:v>
                </c:pt>
                <c:pt idx="281">
                  <c:v>843</c:v>
                </c:pt>
                <c:pt idx="282">
                  <c:v>843</c:v>
                </c:pt>
                <c:pt idx="283">
                  <c:v>845</c:v>
                </c:pt>
                <c:pt idx="284">
                  <c:v>845</c:v>
                </c:pt>
                <c:pt idx="285">
                  <c:v>846</c:v>
                </c:pt>
                <c:pt idx="286">
                  <c:v>848</c:v>
                </c:pt>
                <c:pt idx="287">
                  <c:v>850</c:v>
                </c:pt>
                <c:pt idx="288">
                  <c:v>851</c:v>
                </c:pt>
                <c:pt idx="289">
                  <c:v>853</c:v>
                </c:pt>
                <c:pt idx="290">
                  <c:v>854</c:v>
                </c:pt>
                <c:pt idx="291">
                  <c:v>856</c:v>
                </c:pt>
                <c:pt idx="292">
                  <c:v>857</c:v>
                </c:pt>
                <c:pt idx="293">
                  <c:v>859</c:v>
                </c:pt>
                <c:pt idx="294">
                  <c:v>859</c:v>
                </c:pt>
                <c:pt idx="295">
                  <c:v>859</c:v>
                </c:pt>
                <c:pt idx="296">
                  <c:v>860</c:v>
                </c:pt>
                <c:pt idx="297">
                  <c:v>860</c:v>
                </c:pt>
                <c:pt idx="298">
                  <c:v>861</c:v>
                </c:pt>
                <c:pt idx="299">
                  <c:v>861</c:v>
                </c:pt>
                <c:pt idx="300">
                  <c:v>861</c:v>
                </c:pt>
                <c:pt idx="301">
                  <c:v>862</c:v>
                </c:pt>
                <c:pt idx="302">
                  <c:v>863</c:v>
                </c:pt>
                <c:pt idx="303">
                  <c:v>863</c:v>
                </c:pt>
                <c:pt idx="304">
                  <c:v>864</c:v>
                </c:pt>
                <c:pt idx="305">
                  <c:v>864</c:v>
                </c:pt>
                <c:pt idx="306">
                  <c:v>865</c:v>
                </c:pt>
                <c:pt idx="307">
                  <c:v>866</c:v>
                </c:pt>
                <c:pt idx="308">
                  <c:v>867</c:v>
                </c:pt>
                <c:pt idx="309">
                  <c:v>867</c:v>
                </c:pt>
                <c:pt idx="310">
                  <c:v>868</c:v>
                </c:pt>
                <c:pt idx="311">
                  <c:v>869</c:v>
                </c:pt>
                <c:pt idx="312">
                  <c:v>866</c:v>
                </c:pt>
                <c:pt idx="313">
                  <c:v>866</c:v>
                </c:pt>
                <c:pt idx="314">
                  <c:v>868</c:v>
                </c:pt>
                <c:pt idx="315">
                  <c:v>870</c:v>
                </c:pt>
                <c:pt idx="316">
                  <c:v>872</c:v>
                </c:pt>
                <c:pt idx="317">
                  <c:v>873</c:v>
                </c:pt>
                <c:pt idx="318">
                  <c:v>874</c:v>
                </c:pt>
                <c:pt idx="319">
                  <c:v>875</c:v>
                </c:pt>
                <c:pt idx="320">
                  <c:v>875</c:v>
                </c:pt>
                <c:pt idx="321">
                  <c:v>876</c:v>
                </c:pt>
                <c:pt idx="322">
                  <c:v>876</c:v>
                </c:pt>
                <c:pt idx="323">
                  <c:v>876</c:v>
                </c:pt>
                <c:pt idx="324">
                  <c:v>876</c:v>
                </c:pt>
                <c:pt idx="325">
                  <c:v>877</c:v>
                </c:pt>
                <c:pt idx="326">
                  <c:v>877</c:v>
                </c:pt>
                <c:pt idx="327">
                  <c:v>877</c:v>
                </c:pt>
                <c:pt idx="328">
                  <c:v>878</c:v>
                </c:pt>
                <c:pt idx="329">
                  <c:v>879</c:v>
                </c:pt>
                <c:pt idx="330">
                  <c:v>879</c:v>
                </c:pt>
                <c:pt idx="331">
                  <c:v>880</c:v>
                </c:pt>
                <c:pt idx="332">
                  <c:v>882</c:v>
                </c:pt>
                <c:pt idx="333">
                  <c:v>883</c:v>
                </c:pt>
                <c:pt idx="334">
                  <c:v>885</c:v>
                </c:pt>
                <c:pt idx="335">
                  <c:v>886</c:v>
                </c:pt>
                <c:pt idx="336">
                  <c:v>887</c:v>
                </c:pt>
                <c:pt idx="337">
                  <c:v>888</c:v>
                </c:pt>
                <c:pt idx="338">
                  <c:v>885</c:v>
                </c:pt>
                <c:pt idx="339">
                  <c:v>890</c:v>
                </c:pt>
                <c:pt idx="340">
                  <c:v>898</c:v>
                </c:pt>
                <c:pt idx="341">
                  <c:v>904</c:v>
                </c:pt>
                <c:pt idx="342">
                  <c:v>909</c:v>
                </c:pt>
                <c:pt idx="343">
                  <c:v>913</c:v>
                </c:pt>
                <c:pt idx="344">
                  <c:v>915</c:v>
                </c:pt>
                <c:pt idx="345">
                  <c:v>917</c:v>
                </c:pt>
                <c:pt idx="346">
                  <c:v>919</c:v>
                </c:pt>
                <c:pt idx="347">
                  <c:v>919</c:v>
                </c:pt>
                <c:pt idx="348">
                  <c:v>921</c:v>
                </c:pt>
                <c:pt idx="349">
                  <c:v>921</c:v>
                </c:pt>
                <c:pt idx="350">
                  <c:v>921</c:v>
                </c:pt>
                <c:pt idx="351">
                  <c:v>922</c:v>
                </c:pt>
                <c:pt idx="352">
                  <c:v>922</c:v>
                </c:pt>
                <c:pt idx="353">
                  <c:v>922</c:v>
                </c:pt>
                <c:pt idx="354">
                  <c:v>923</c:v>
                </c:pt>
                <c:pt idx="355">
                  <c:v>923</c:v>
                </c:pt>
                <c:pt idx="356">
                  <c:v>923</c:v>
                </c:pt>
                <c:pt idx="357">
                  <c:v>924</c:v>
                </c:pt>
                <c:pt idx="358">
                  <c:v>924</c:v>
                </c:pt>
                <c:pt idx="359">
                  <c:v>931</c:v>
                </c:pt>
                <c:pt idx="360">
                  <c:v>937</c:v>
                </c:pt>
                <c:pt idx="361">
                  <c:v>943</c:v>
                </c:pt>
                <c:pt idx="362">
                  <c:v>949</c:v>
                </c:pt>
                <c:pt idx="363">
                  <c:v>953</c:v>
                </c:pt>
                <c:pt idx="364">
                  <c:v>956</c:v>
                </c:pt>
                <c:pt idx="365">
                  <c:v>959</c:v>
                </c:pt>
                <c:pt idx="366">
                  <c:v>963</c:v>
                </c:pt>
                <c:pt idx="367">
                  <c:v>965</c:v>
                </c:pt>
                <c:pt idx="368">
                  <c:v>966</c:v>
                </c:pt>
                <c:pt idx="369">
                  <c:v>967</c:v>
                </c:pt>
                <c:pt idx="370">
                  <c:v>968</c:v>
                </c:pt>
                <c:pt idx="371">
                  <c:v>969</c:v>
                </c:pt>
                <c:pt idx="372">
                  <c:v>970</c:v>
                </c:pt>
                <c:pt idx="373">
                  <c:v>971</c:v>
                </c:pt>
                <c:pt idx="374">
                  <c:v>971</c:v>
                </c:pt>
                <c:pt idx="375">
                  <c:v>971</c:v>
                </c:pt>
                <c:pt idx="376">
                  <c:v>972</c:v>
                </c:pt>
                <c:pt idx="377">
                  <c:v>972</c:v>
                </c:pt>
                <c:pt idx="378">
                  <c:v>972</c:v>
                </c:pt>
                <c:pt idx="379">
                  <c:v>973</c:v>
                </c:pt>
                <c:pt idx="380">
                  <c:v>973</c:v>
                </c:pt>
                <c:pt idx="381">
                  <c:v>974</c:v>
                </c:pt>
                <c:pt idx="382">
                  <c:v>976</c:v>
                </c:pt>
                <c:pt idx="383">
                  <c:v>975</c:v>
                </c:pt>
                <c:pt idx="384">
                  <c:v>977</c:v>
                </c:pt>
                <c:pt idx="385">
                  <c:v>981</c:v>
                </c:pt>
                <c:pt idx="386">
                  <c:v>985</c:v>
                </c:pt>
                <c:pt idx="387">
                  <c:v>986</c:v>
                </c:pt>
                <c:pt idx="388">
                  <c:v>988</c:v>
                </c:pt>
                <c:pt idx="389">
                  <c:v>989</c:v>
                </c:pt>
                <c:pt idx="390">
                  <c:v>991</c:v>
                </c:pt>
                <c:pt idx="391">
                  <c:v>991</c:v>
                </c:pt>
                <c:pt idx="392">
                  <c:v>991</c:v>
                </c:pt>
                <c:pt idx="393">
                  <c:v>991</c:v>
                </c:pt>
                <c:pt idx="394">
                  <c:v>990</c:v>
                </c:pt>
                <c:pt idx="395">
                  <c:v>991</c:v>
                </c:pt>
                <c:pt idx="396">
                  <c:v>991</c:v>
                </c:pt>
                <c:pt idx="397">
                  <c:v>991</c:v>
                </c:pt>
                <c:pt idx="398">
                  <c:v>991</c:v>
                </c:pt>
                <c:pt idx="399">
                  <c:v>991</c:v>
                </c:pt>
                <c:pt idx="400">
                  <c:v>991</c:v>
                </c:pt>
                <c:pt idx="401">
                  <c:v>991</c:v>
                </c:pt>
                <c:pt idx="402">
                  <c:v>992</c:v>
                </c:pt>
                <c:pt idx="403">
                  <c:v>993</c:v>
                </c:pt>
                <c:pt idx="404">
                  <c:v>993</c:v>
                </c:pt>
                <c:pt idx="405">
                  <c:v>995</c:v>
                </c:pt>
                <c:pt idx="406">
                  <c:v>993</c:v>
                </c:pt>
                <c:pt idx="407">
                  <c:v>995</c:v>
                </c:pt>
                <c:pt idx="408">
                  <c:v>1002</c:v>
                </c:pt>
                <c:pt idx="409">
                  <c:v>1009</c:v>
                </c:pt>
                <c:pt idx="410">
                  <c:v>1015</c:v>
                </c:pt>
                <c:pt idx="411">
                  <c:v>1021</c:v>
                </c:pt>
                <c:pt idx="412">
                  <c:v>1025</c:v>
                </c:pt>
                <c:pt idx="413">
                  <c:v>1029</c:v>
                </c:pt>
                <c:pt idx="414">
                  <c:v>1033</c:v>
                </c:pt>
                <c:pt idx="415">
                  <c:v>1036</c:v>
                </c:pt>
                <c:pt idx="416">
                  <c:v>1038</c:v>
                </c:pt>
                <c:pt idx="417">
                  <c:v>1040</c:v>
                </c:pt>
                <c:pt idx="418">
                  <c:v>1041</c:v>
                </c:pt>
                <c:pt idx="419">
                  <c:v>1042</c:v>
                </c:pt>
                <c:pt idx="420">
                  <c:v>1044</c:v>
                </c:pt>
                <c:pt idx="421">
                  <c:v>1044</c:v>
                </c:pt>
                <c:pt idx="422">
                  <c:v>1045</c:v>
                </c:pt>
                <c:pt idx="423">
                  <c:v>1046</c:v>
                </c:pt>
                <c:pt idx="424">
                  <c:v>1046</c:v>
                </c:pt>
                <c:pt idx="425">
                  <c:v>1047</c:v>
                </c:pt>
                <c:pt idx="426">
                  <c:v>1048</c:v>
                </c:pt>
                <c:pt idx="427">
                  <c:v>1048</c:v>
                </c:pt>
                <c:pt idx="428">
                  <c:v>1050</c:v>
                </c:pt>
                <c:pt idx="429">
                  <c:v>1051</c:v>
                </c:pt>
                <c:pt idx="430">
                  <c:v>1052</c:v>
                </c:pt>
                <c:pt idx="431">
                  <c:v>1055</c:v>
                </c:pt>
                <c:pt idx="432">
                  <c:v>1057</c:v>
                </c:pt>
                <c:pt idx="433">
                  <c:v>1060</c:v>
                </c:pt>
                <c:pt idx="434">
                  <c:v>1063</c:v>
                </c:pt>
                <c:pt idx="435">
                  <c:v>1065</c:v>
                </c:pt>
                <c:pt idx="436">
                  <c:v>1068</c:v>
                </c:pt>
                <c:pt idx="437">
                  <c:v>1069</c:v>
                </c:pt>
                <c:pt idx="438">
                  <c:v>1070</c:v>
                </c:pt>
                <c:pt idx="439">
                  <c:v>1071</c:v>
                </c:pt>
                <c:pt idx="440">
                  <c:v>1071</c:v>
                </c:pt>
                <c:pt idx="441">
                  <c:v>1072</c:v>
                </c:pt>
                <c:pt idx="442">
                  <c:v>1072</c:v>
                </c:pt>
                <c:pt idx="443">
                  <c:v>1072</c:v>
                </c:pt>
                <c:pt idx="444">
                  <c:v>1073</c:v>
                </c:pt>
                <c:pt idx="445">
                  <c:v>1073</c:v>
                </c:pt>
                <c:pt idx="446">
                  <c:v>1073</c:v>
                </c:pt>
                <c:pt idx="447">
                  <c:v>1074</c:v>
                </c:pt>
                <c:pt idx="448">
                  <c:v>1074</c:v>
                </c:pt>
                <c:pt idx="449">
                  <c:v>1074</c:v>
                </c:pt>
                <c:pt idx="450">
                  <c:v>1075</c:v>
                </c:pt>
                <c:pt idx="451">
                  <c:v>1076</c:v>
                </c:pt>
                <c:pt idx="452">
                  <c:v>1078</c:v>
                </c:pt>
                <c:pt idx="453">
                  <c:v>1079</c:v>
                </c:pt>
                <c:pt idx="454">
                  <c:v>1081</c:v>
                </c:pt>
                <c:pt idx="455">
                  <c:v>1084</c:v>
                </c:pt>
                <c:pt idx="456">
                  <c:v>1085</c:v>
                </c:pt>
                <c:pt idx="457">
                  <c:v>1087</c:v>
                </c:pt>
                <c:pt idx="458">
                  <c:v>1091</c:v>
                </c:pt>
                <c:pt idx="459">
                  <c:v>1093</c:v>
                </c:pt>
                <c:pt idx="460">
                  <c:v>1096</c:v>
                </c:pt>
                <c:pt idx="461">
                  <c:v>1097</c:v>
                </c:pt>
                <c:pt idx="462">
                  <c:v>1098</c:v>
                </c:pt>
                <c:pt idx="463">
                  <c:v>1100</c:v>
                </c:pt>
                <c:pt idx="464">
                  <c:v>1100</c:v>
                </c:pt>
                <c:pt idx="465">
                  <c:v>1101</c:v>
                </c:pt>
                <c:pt idx="466">
                  <c:v>1102</c:v>
                </c:pt>
                <c:pt idx="467">
                  <c:v>1102</c:v>
                </c:pt>
                <c:pt idx="468">
                  <c:v>1102</c:v>
                </c:pt>
                <c:pt idx="469">
                  <c:v>1103</c:v>
                </c:pt>
                <c:pt idx="470">
                  <c:v>1104</c:v>
                </c:pt>
                <c:pt idx="471">
                  <c:v>1104</c:v>
                </c:pt>
                <c:pt idx="472">
                  <c:v>1105</c:v>
                </c:pt>
                <c:pt idx="473">
                  <c:v>1105</c:v>
                </c:pt>
                <c:pt idx="474">
                  <c:v>1106</c:v>
                </c:pt>
                <c:pt idx="475">
                  <c:v>1108</c:v>
                </c:pt>
                <c:pt idx="476">
                  <c:v>1109</c:v>
                </c:pt>
                <c:pt idx="477">
                  <c:v>1110</c:v>
                </c:pt>
                <c:pt idx="478">
                  <c:v>1112</c:v>
                </c:pt>
                <c:pt idx="479">
                  <c:v>1114</c:v>
                </c:pt>
                <c:pt idx="480">
                  <c:v>1117</c:v>
                </c:pt>
                <c:pt idx="481">
                  <c:v>1118</c:v>
                </c:pt>
                <c:pt idx="482">
                  <c:v>1119</c:v>
                </c:pt>
                <c:pt idx="483">
                  <c:v>1120</c:v>
                </c:pt>
                <c:pt idx="484">
                  <c:v>1121</c:v>
                </c:pt>
                <c:pt idx="485">
                  <c:v>1121</c:v>
                </c:pt>
                <c:pt idx="486">
                  <c:v>1122</c:v>
                </c:pt>
                <c:pt idx="487">
                  <c:v>1122</c:v>
                </c:pt>
                <c:pt idx="488">
                  <c:v>1123</c:v>
                </c:pt>
                <c:pt idx="489">
                  <c:v>1123</c:v>
                </c:pt>
                <c:pt idx="490">
                  <c:v>1124</c:v>
                </c:pt>
                <c:pt idx="491">
                  <c:v>1124</c:v>
                </c:pt>
                <c:pt idx="492">
                  <c:v>1125</c:v>
                </c:pt>
                <c:pt idx="493">
                  <c:v>1125</c:v>
                </c:pt>
                <c:pt idx="494">
                  <c:v>1126</c:v>
                </c:pt>
                <c:pt idx="495">
                  <c:v>1126</c:v>
                </c:pt>
                <c:pt idx="496">
                  <c:v>1127</c:v>
                </c:pt>
                <c:pt idx="497">
                  <c:v>1127</c:v>
                </c:pt>
                <c:pt idx="498">
                  <c:v>1127</c:v>
                </c:pt>
                <c:pt idx="499">
                  <c:v>1128</c:v>
                </c:pt>
                <c:pt idx="500">
                  <c:v>1128</c:v>
                </c:pt>
                <c:pt idx="501">
                  <c:v>1129</c:v>
                </c:pt>
                <c:pt idx="502">
                  <c:v>1130</c:v>
                </c:pt>
                <c:pt idx="503">
                  <c:v>1132</c:v>
                </c:pt>
                <c:pt idx="504">
                  <c:v>1172</c:v>
                </c:pt>
                <c:pt idx="505">
                  <c:v>1179</c:v>
                </c:pt>
                <c:pt idx="506">
                  <c:v>1182</c:v>
                </c:pt>
                <c:pt idx="507">
                  <c:v>1186</c:v>
                </c:pt>
                <c:pt idx="508">
                  <c:v>1189</c:v>
                </c:pt>
                <c:pt idx="509">
                  <c:v>1191</c:v>
                </c:pt>
                <c:pt idx="510">
                  <c:v>1192</c:v>
                </c:pt>
                <c:pt idx="511">
                  <c:v>1192</c:v>
                </c:pt>
                <c:pt idx="512">
                  <c:v>1192</c:v>
                </c:pt>
                <c:pt idx="513">
                  <c:v>1193</c:v>
                </c:pt>
                <c:pt idx="514">
                  <c:v>1193</c:v>
                </c:pt>
                <c:pt idx="515">
                  <c:v>1193</c:v>
                </c:pt>
                <c:pt idx="516">
                  <c:v>1193</c:v>
                </c:pt>
                <c:pt idx="517">
                  <c:v>1193</c:v>
                </c:pt>
                <c:pt idx="518">
                  <c:v>1194</c:v>
                </c:pt>
                <c:pt idx="519">
                  <c:v>1194</c:v>
                </c:pt>
                <c:pt idx="520">
                  <c:v>1194</c:v>
                </c:pt>
                <c:pt idx="521">
                  <c:v>1195</c:v>
                </c:pt>
                <c:pt idx="522">
                  <c:v>1195</c:v>
                </c:pt>
                <c:pt idx="523">
                  <c:v>1195</c:v>
                </c:pt>
                <c:pt idx="524">
                  <c:v>1196</c:v>
                </c:pt>
                <c:pt idx="525">
                  <c:v>1197</c:v>
                </c:pt>
                <c:pt idx="526">
                  <c:v>1201</c:v>
                </c:pt>
                <c:pt idx="527">
                  <c:v>1204</c:v>
                </c:pt>
                <c:pt idx="528">
                  <c:v>1205</c:v>
                </c:pt>
                <c:pt idx="529">
                  <c:v>1207</c:v>
                </c:pt>
                <c:pt idx="530">
                  <c:v>1209</c:v>
                </c:pt>
                <c:pt idx="531">
                  <c:v>1211</c:v>
                </c:pt>
                <c:pt idx="532">
                  <c:v>1213</c:v>
                </c:pt>
                <c:pt idx="533">
                  <c:v>1213</c:v>
                </c:pt>
                <c:pt idx="534">
                  <c:v>1214</c:v>
                </c:pt>
                <c:pt idx="535">
                  <c:v>1215</c:v>
                </c:pt>
                <c:pt idx="536">
                  <c:v>1216</c:v>
                </c:pt>
                <c:pt idx="537">
                  <c:v>1216</c:v>
                </c:pt>
                <c:pt idx="538">
                  <c:v>1217</c:v>
                </c:pt>
                <c:pt idx="539">
                  <c:v>1217</c:v>
                </c:pt>
                <c:pt idx="540">
                  <c:v>1218</c:v>
                </c:pt>
                <c:pt idx="541">
                  <c:v>1218</c:v>
                </c:pt>
                <c:pt idx="542">
                  <c:v>1219</c:v>
                </c:pt>
                <c:pt idx="543">
                  <c:v>1219</c:v>
                </c:pt>
                <c:pt idx="544">
                  <c:v>1220</c:v>
                </c:pt>
                <c:pt idx="545">
                  <c:v>1220</c:v>
                </c:pt>
                <c:pt idx="546">
                  <c:v>1221</c:v>
                </c:pt>
                <c:pt idx="547">
                  <c:v>1220</c:v>
                </c:pt>
                <c:pt idx="548">
                  <c:v>1221</c:v>
                </c:pt>
                <c:pt idx="549">
                  <c:v>1222</c:v>
                </c:pt>
                <c:pt idx="550">
                  <c:v>1223</c:v>
                </c:pt>
                <c:pt idx="551">
                  <c:v>1223</c:v>
                </c:pt>
                <c:pt idx="552">
                  <c:v>1222</c:v>
                </c:pt>
                <c:pt idx="553">
                  <c:v>1222</c:v>
                </c:pt>
                <c:pt idx="554">
                  <c:v>1223</c:v>
                </c:pt>
                <c:pt idx="555">
                  <c:v>1222</c:v>
                </c:pt>
                <c:pt idx="556">
                  <c:v>1221</c:v>
                </c:pt>
                <c:pt idx="557">
                  <c:v>1222</c:v>
                </c:pt>
                <c:pt idx="558">
                  <c:v>1222</c:v>
                </c:pt>
                <c:pt idx="559">
                  <c:v>1223</c:v>
                </c:pt>
                <c:pt idx="560">
                  <c:v>1224</c:v>
                </c:pt>
                <c:pt idx="561">
                  <c:v>1225</c:v>
                </c:pt>
                <c:pt idx="562">
                  <c:v>1227</c:v>
                </c:pt>
                <c:pt idx="563">
                  <c:v>1228</c:v>
                </c:pt>
                <c:pt idx="564">
                  <c:v>1229</c:v>
                </c:pt>
                <c:pt idx="565">
                  <c:v>1230</c:v>
                </c:pt>
                <c:pt idx="566">
                  <c:v>1231</c:v>
                </c:pt>
                <c:pt idx="567">
                  <c:v>1232</c:v>
                </c:pt>
                <c:pt idx="568">
                  <c:v>1233</c:v>
                </c:pt>
                <c:pt idx="569">
                  <c:v>1233</c:v>
                </c:pt>
                <c:pt idx="570">
                  <c:v>1234</c:v>
                </c:pt>
                <c:pt idx="571">
                  <c:v>1235</c:v>
                </c:pt>
                <c:pt idx="572">
                  <c:v>1236</c:v>
                </c:pt>
                <c:pt idx="573">
                  <c:v>1237</c:v>
                </c:pt>
                <c:pt idx="574">
                  <c:v>1239</c:v>
                </c:pt>
                <c:pt idx="575">
                  <c:v>1241</c:v>
                </c:pt>
                <c:pt idx="576">
                  <c:v>1244</c:v>
                </c:pt>
                <c:pt idx="577">
                  <c:v>1245</c:v>
                </c:pt>
                <c:pt idx="578">
                  <c:v>1249</c:v>
                </c:pt>
                <c:pt idx="579">
                  <c:v>1252</c:v>
                </c:pt>
                <c:pt idx="580">
                  <c:v>1254</c:v>
                </c:pt>
                <c:pt idx="581">
                  <c:v>1256</c:v>
                </c:pt>
                <c:pt idx="582">
                  <c:v>1258</c:v>
                </c:pt>
                <c:pt idx="583">
                  <c:v>1258</c:v>
                </c:pt>
                <c:pt idx="584">
                  <c:v>1259</c:v>
                </c:pt>
                <c:pt idx="585">
                  <c:v>1259</c:v>
                </c:pt>
                <c:pt idx="586">
                  <c:v>1259</c:v>
                </c:pt>
                <c:pt idx="587">
                  <c:v>1260</c:v>
                </c:pt>
                <c:pt idx="588">
                  <c:v>1260</c:v>
                </c:pt>
                <c:pt idx="589">
                  <c:v>1261</c:v>
                </c:pt>
                <c:pt idx="590">
                  <c:v>1261</c:v>
                </c:pt>
                <c:pt idx="591">
                  <c:v>1262</c:v>
                </c:pt>
                <c:pt idx="592">
                  <c:v>1262</c:v>
                </c:pt>
                <c:pt idx="593">
                  <c:v>1261</c:v>
                </c:pt>
                <c:pt idx="594">
                  <c:v>1260</c:v>
                </c:pt>
                <c:pt idx="595">
                  <c:v>1259</c:v>
                </c:pt>
                <c:pt idx="596">
                  <c:v>1258</c:v>
                </c:pt>
                <c:pt idx="597">
                  <c:v>1261</c:v>
                </c:pt>
                <c:pt idx="598">
                  <c:v>1263</c:v>
                </c:pt>
                <c:pt idx="599">
                  <c:v>1265</c:v>
                </c:pt>
                <c:pt idx="600">
                  <c:v>1266</c:v>
                </c:pt>
                <c:pt idx="601">
                  <c:v>1266</c:v>
                </c:pt>
                <c:pt idx="602">
                  <c:v>1269</c:v>
                </c:pt>
                <c:pt idx="603">
                  <c:v>1273</c:v>
                </c:pt>
                <c:pt idx="604">
                  <c:v>1273</c:v>
                </c:pt>
                <c:pt idx="605">
                  <c:v>1273</c:v>
                </c:pt>
                <c:pt idx="606">
                  <c:v>1276</c:v>
                </c:pt>
                <c:pt idx="607">
                  <c:v>1276</c:v>
                </c:pt>
                <c:pt idx="608">
                  <c:v>1279</c:v>
                </c:pt>
                <c:pt idx="609">
                  <c:v>1278</c:v>
                </c:pt>
                <c:pt idx="610">
                  <c:v>1280</c:v>
                </c:pt>
                <c:pt idx="611">
                  <c:v>1280</c:v>
                </c:pt>
                <c:pt idx="612">
                  <c:v>1283</c:v>
                </c:pt>
                <c:pt idx="613">
                  <c:v>1282</c:v>
                </c:pt>
                <c:pt idx="614">
                  <c:v>1285</c:v>
                </c:pt>
                <c:pt idx="615">
                  <c:v>1284</c:v>
                </c:pt>
                <c:pt idx="616">
                  <c:v>1286</c:v>
                </c:pt>
                <c:pt idx="617">
                  <c:v>1286</c:v>
                </c:pt>
                <c:pt idx="618">
                  <c:v>1288</c:v>
                </c:pt>
                <c:pt idx="619">
                  <c:v>1288</c:v>
                </c:pt>
                <c:pt idx="620">
                  <c:v>1291</c:v>
                </c:pt>
                <c:pt idx="621">
                  <c:v>1292</c:v>
                </c:pt>
                <c:pt idx="622">
                  <c:v>1295</c:v>
                </c:pt>
                <c:pt idx="623">
                  <c:v>1295</c:v>
                </c:pt>
                <c:pt idx="624">
                  <c:v>1300</c:v>
                </c:pt>
                <c:pt idx="625">
                  <c:v>1299</c:v>
                </c:pt>
                <c:pt idx="626">
                  <c:v>1300</c:v>
                </c:pt>
                <c:pt idx="627">
                  <c:v>1304</c:v>
                </c:pt>
                <c:pt idx="628">
                  <c:v>1304</c:v>
                </c:pt>
                <c:pt idx="629">
                  <c:v>1308</c:v>
                </c:pt>
                <c:pt idx="630">
                  <c:v>1308</c:v>
                </c:pt>
                <c:pt idx="631">
                  <c:v>1313</c:v>
                </c:pt>
                <c:pt idx="632">
                  <c:v>1311</c:v>
                </c:pt>
                <c:pt idx="633">
                  <c:v>1310</c:v>
                </c:pt>
                <c:pt idx="634">
                  <c:v>1313</c:v>
                </c:pt>
                <c:pt idx="635">
                  <c:v>1313</c:v>
                </c:pt>
                <c:pt idx="636">
                  <c:v>1312</c:v>
                </c:pt>
                <c:pt idx="637">
                  <c:v>1315</c:v>
                </c:pt>
                <c:pt idx="638">
                  <c:v>1314</c:v>
                </c:pt>
                <c:pt idx="639">
                  <c:v>1318</c:v>
                </c:pt>
                <c:pt idx="640">
                  <c:v>1317</c:v>
                </c:pt>
                <c:pt idx="641">
                  <c:v>1316</c:v>
                </c:pt>
                <c:pt idx="642">
                  <c:v>1319</c:v>
                </c:pt>
                <c:pt idx="643">
                  <c:v>1318</c:v>
                </c:pt>
                <c:pt idx="644">
                  <c:v>1320</c:v>
                </c:pt>
                <c:pt idx="645">
                  <c:v>1321</c:v>
                </c:pt>
                <c:pt idx="646">
                  <c:v>1324</c:v>
                </c:pt>
                <c:pt idx="647">
                  <c:v>1327</c:v>
                </c:pt>
                <c:pt idx="648">
                  <c:v>1330</c:v>
                </c:pt>
                <c:pt idx="649">
                  <c:v>1330</c:v>
                </c:pt>
                <c:pt idx="650">
                  <c:v>1331</c:v>
                </c:pt>
                <c:pt idx="651">
                  <c:v>1335</c:v>
                </c:pt>
                <c:pt idx="652">
                  <c:v>1339</c:v>
                </c:pt>
                <c:pt idx="653">
                  <c:v>1339</c:v>
                </c:pt>
                <c:pt idx="654">
                  <c:v>1338</c:v>
                </c:pt>
                <c:pt idx="655">
                  <c:v>1338</c:v>
                </c:pt>
                <c:pt idx="656">
                  <c:v>1338</c:v>
                </c:pt>
                <c:pt idx="657">
                  <c:v>1342</c:v>
                </c:pt>
                <c:pt idx="658">
                  <c:v>1341</c:v>
                </c:pt>
                <c:pt idx="659">
                  <c:v>1340</c:v>
                </c:pt>
                <c:pt idx="660">
                  <c:v>1340</c:v>
                </c:pt>
                <c:pt idx="661">
                  <c:v>1342</c:v>
                </c:pt>
                <c:pt idx="662">
                  <c:v>1341</c:v>
                </c:pt>
                <c:pt idx="663">
                  <c:v>1344</c:v>
                </c:pt>
                <c:pt idx="664">
                  <c:v>1343</c:v>
                </c:pt>
                <c:pt idx="665">
                  <c:v>1343</c:v>
                </c:pt>
                <c:pt idx="666">
                  <c:v>1346</c:v>
                </c:pt>
                <c:pt idx="667">
                  <c:v>1345</c:v>
                </c:pt>
                <c:pt idx="668">
                  <c:v>134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4261-984E-B5EB-B3A1A32F46EB}"/>
            </c:ext>
          </c:extLst>
        </c:ser>
        <c:ser>
          <c:idx val="1"/>
          <c:order val="2"/>
          <c:tx>
            <c:v>6</c:v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xVal>
            <c:numRef>
              <c:f>'7 Gärrest ungerührt'!$D$20:$D$688</c:f>
              <c:numCache>
                <c:formatCode>0</c:formatCode>
                <c:ptCount val="669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  <c:pt idx="668">
                  <c:v>27.833333333333332</c:v>
                </c:pt>
              </c:numCache>
            </c:numRef>
          </c:xVal>
          <c:yVal>
            <c:numRef>
              <c:f>'6 Gärrest gerührt'!$E$20:$E$688</c:f>
              <c:numCache>
                <c:formatCode>General</c:formatCode>
                <c:ptCount val="669"/>
                <c:pt idx="0">
                  <c:v>0</c:v>
                </c:pt>
                <c:pt idx="1">
                  <c:v>104</c:v>
                </c:pt>
                <c:pt idx="2">
                  <c:v>153</c:v>
                </c:pt>
                <c:pt idx="3">
                  <c:v>190</c:v>
                </c:pt>
                <c:pt idx="4">
                  <c:v>215</c:v>
                </c:pt>
                <c:pt idx="5">
                  <c:v>232</c:v>
                </c:pt>
                <c:pt idx="6">
                  <c:v>242</c:v>
                </c:pt>
                <c:pt idx="7">
                  <c:v>249</c:v>
                </c:pt>
                <c:pt idx="8">
                  <c:v>255</c:v>
                </c:pt>
                <c:pt idx="9">
                  <c:v>259</c:v>
                </c:pt>
                <c:pt idx="10">
                  <c:v>263</c:v>
                </c:pt>
                <c:pt idx="11">
                  <c:v>266</c:v>
                </c:pt>
                <c:pt idx="12">
                  <c:v>270</c:v>
                </c:pt>
                <c:pt idx="13">
                  <c:v>273</c:v>
                </c:pt>
                <c:pt idx="14">
                  <c:v>276</c:v>
                </c:pt>
                <c:pt idx="15">
                  <c:v>279</c:v>
                </c:pt>
                <c:pt idx="16">
                  <c:v>283</c:v>
                </c:pt>
                <c:pt idx="17">
                  <c:v>285</c:v>
                </c:pt>
                <c:pt idx="18">
                  <c:v>288</c:v>
                </c:pt>
                <c:pt idx="19">
                  <c:v>319</c:v>
                </c:pt>
                <c:pt idx="20">
                  <c:v>331</c:v>
                </c:pt>
                <c:pt idx="21">
                  <c:v>340</c:v>
                </c:pt>
                <c:pt idx="22">
                  <c:v>346</c:v>
                </c:pt>
                <c:pt idx="23">
                  <c:v>353</c:v>
                </c:pt>
                <c:pt idx="24">
                  <c:v>361</c:v>
                </c:pt>
                <c:pt idx="25">
                  <c:v>368</c:v>
                </c:pt>
                <c:pt idx="26">
                  <c:v>374</c:v>
                </c:pt>
                <c:pt idx="27">
                  <c:v>377</c:v>
                </c:pt>
                <c:pt idx="28">
                  <c:v>383</c:v>
                </c:pt>
                <c:pt idx="29">
                  <c:v>388</c:v>
                </c:pt>
                <c:pt idx="30">
                  <c:v>393</c:v>
                </c:pt>
                <c:pt idx="31">
                  <c:v>396</c:v>
                </c:pt>
                <c:pt idx="32">
                  <c:v>400</c:v>
                </c:pt>
                <c:pt idx="33">
                  <c:v>403</c:v>
                </c:pt>
                <c:pt idx="34">
                  <c:v>405</c:v>
                </c:pt>
                <c:pt idx="35">
                  <c:v>407</c:v>
                </c:pt>
                <c:pt idx="36">
                  <c:v>409</c:v>
                </c:pt>
                <c:pt idx="37">
                  <c:v>411</c:v>
                </c:pt>
                <c:pt idx="38">
                  <c:v>413</c:v>
                </c:pt>
                <c:pt idx="39">
                  <c:v>415</c:v>
                </c:pt>
                <c:pt idx="40">
                  <c:v>417</c:v>
                </c:pt>
                <c:pt idx="41">
                  <c:v>419</c:v>
                </c:pt>
                <c:pt idx="42">
                  <c:v>421</c:v>
                </c:pt>
                <c:pt idx="43">
                  <c:v>424</c:v>
                </c:pt>
                <c:pt idx="44">
                  <c:v>427</c:v>
                </c:pt>
                <c:pt idx="45">
                  <c:v>430</c:v>
                </c:pt>
                <c:pt idx="46">
                  <c:v>433</c:v>
                </c:pt>
                <c:pt idx="47">
                  <c:v>437</c:v>
                </c:pt>
                <c:pt idx="48">
                  <c:v>443</c:v>
                </c:pt>
                <c:pt idx="49">
                  <c:v>451</c:v>
                </c:pt>
                <c:pt idx="50">
                  <c:v>460</c:v>
                </c:pt>
                <c:pt idx="51">
                  <c:v>467</c:v>
                </c:pt>
                <c:pt idx="52">
                  <c:v>469</c:v>
                </c:pt>
                <c:pt idx="53">
                  <c:v>470</c:v>
                </c:pt>
                <c:pt idx="54">
                  <c:v>471</c:v>
                </c:pt>
                <c:pt idx="55">
                  <c:v>472</c:v>
                </c:pt>
                <c:pt idx="56">
                  <c:v>472</c:v>
                </c:pt>
                <c:pt idx="57">
                  <c:v>473</c:v>
                </c:pt>
                <c:pt idx="58">
                  <c:v>474</c:v>
                </c:pt>
                <c:pt idx="59">
                  <c:v>475</c:v>
                </c:pt>
                <c:pt idx="60">
                  <c:v>476</c:v>
                </c:pt>
                <c:pt idx="61">
                  <c:v>478</c:v>
                </c:pt>
                <c:pt idx="62">
                  <c:v>479</c:v>
                </c:pt>
                <c:pt idx="63">
                  <c:v>481</c:v>
                </c:pt>
                <c:pt idx="64">
                  <c:v>482</c:v>
                </c:pt>
                <c:pt idx="65">
                  <c:v>484</c:v>
                </c:pt>
                <c:pt idx="66">
                  <c:v>485</c:v>
                </c:pt>
                <c:pt idx="67">
                  <c:v>485</c:v>
                </c:pt>
                <c:pt idx="68">
                  <c:v>485</c:v>
                </c:pt>
                <c:pt idx="69">
                  <c:v>486</c:v>
                </c:pt>
                <c:pt idx="70">
                  <c:v>488</c:v>
                </c:pt>
                <c:pt idx="71">
                  <c:v>490</c:v>
                </c:pt>
                <c:pt idx="72">
                  <c:v>493</c:v>
                </c:pt>
                <c:pt idx="73">
                  <c:v>514</c:v>
                </c:pt>
                <c:pt idx="74">
                  <c:v>525</c:v>
                </c:pt>
                <c:pt idx="75">
                  <c:v>529</c:v>
                </c:pt>
                <c:pt idx="76">
                  <c:v>534</c:v>
                </c:pt>
                <c:pt idx="77">
                  <c:v>538</c:v>
                </c:pt>
                <c:pt idx="78">
                  <c:v>541</c:v>
                </c:pt>
                <c:pt idx="79">
                  <c:v>543</c:v>
                </c:pt>
                <c:pt idx="80">
                  <c:v>546</c:v>
                </c:pt>
                <c:pt idx="81">
                  <c:v>547</c:v>
                </c:pt>
                <c:pt idx="82">
                  <c:v>549</c:v>
                </c:pt>
                <c:pt idx="83">
                  <c:v>550</c:v>
                </c:pt>
                <c:pt idx="84">
                  <c:v>551</c:v>
                </c:pt>
                <c:pt idx="85">
                  <c:v>552</c:v>
                </c:pt>
                <c:pt idx="86">
                  <c:v>554</c:v>
                </c:pt>
                <c:pt idx="87">
                  <c:v>555</c:v>
                </c:pt>
                <c:pt idx="88">
                  <c:v>556</c:v>
                </c:pt>
                <c:pt idx="89">
                  <c:v>558</c:v>
                </c:pt>
                <c:pt idx="90">
                  <c:v>559</c:v>
                </c:pt>
                <c:pt idx="91">
                  <c:v>561</c:v>
                </c:pt>
                <c:pt idx="92">
                  <c:v>563</c:v>
                </c:pt>
                <c:pt idx="93">
                  <c:v>565</c:v>
                </c:pt>
                <c:pt idx="94">
                  <c:v>570</c:v>
                </c:pt>
                <c:pt idx="95">
                  <c:v>574</c:v>
                </c:pt>
                <c:pt idx="96">
                  <c:v>578</c:v>
                </c:pt>
                <c:pt idx="97">
                  <c:v>577</c:v>
                </c:pt>
                <c:pt idx="98">
                  <c:v>579</c:v>
                </c:pt>
                <c:pt idx="99">
                  <c:v>583</c:v>
                </c:pt>
                <c:pt idx="100">
                  <c:v>586</c:v>
                </c:pt>
                <c:pt idx="101">
                  <c:v>590</c:v>
                </c:pt>
                <c:pt idx="102">
                  <c:v>592</c:v>
                </c:pt>
                <c:pt idx="103">
                  <c:v>594</c:v>
                </c:pt>
                <c:pt idx="104">
                  <c:v>596</c:v>
                </c:pt>
                <c:pt idx="105">
                  <c:v>598</c:v>
                </c:pt>
                <c:pt idx="106">
                  <c:v>600</c:v>
                </c:pt>
                <c:pt idx="107">
                  <c:v>601</c:v>
                </c:pt>
                <c:pt idx="108">
                  <c:v>603</c:v>
                </c:pt>
                <c:pt idx="109">
                  <c:v>603</c:v>
                </c:pt>
                <c:pt idx="110">
                  <c:v>604</c:v>
                </c:pt>
                <c:pt idx="111">
                  <c:v>605</c:v>
                </c:pt>
                <c:pt idx="112">
                  <c:v>606</c:v>
                </c:pt>
                <c:pt idx="113">
                  <c:v>607</c:v>
                </c:pt>
                <c:pt idx="114">
                  <c:v>608</c:v>
                </c:pt>
                <c:pt idx="115">
                  <c:v>609</c:v>
                </c:pt>
                <c:pt idx="116">
                  <c:v>611</c:v>
                </c:pt>
                <c:pt idx="117">
                  <c:v>612</c:v>
                </c:pt>
                <c:pt idx="118">
                  <c:v>615</c:v>
                </c:pt>
                <c:pt idx="119">
                  <c:v>617</c:v>
                </c:pt>
                <c:pt idx="120">
                  <c:v>619</c:v>
                </c:pt>
                <c:pt idx="121">
                  <c:v>623</c:v>
                </c:pt>
                <c:pt idx="122">
                  <c:v>626</c:v>
                </c:pt>
                <c:pt idx="123">
                  <c:v>628</c:v>
                </c:pt>
                <c:pt idx="124">
                  <c:v>631</c:v>
                </c:pt>
                <c:pt idx="125">
                  <c:v>633</c:v>
                </c:pt>
                <c:pt idx="126">
                  <c:v>634</c:v>
                </c:pt>
                <c:pt idx="127">
                  <c:v>635</c:v>
                </c:pt>
                <c:pt idx="128">
                  <c:v>636</c:v>
                </c:pt>
                <c:pt idx="129">
                  <c:v>636</c:v>
                </c:pt>
                <c:pt idx="130">
                  <c:v>638</c:v>
                </c:pt>
                <c:pt idx="131">
                  <c:v>638</c:v>
                </c:pt>
                <c:pt idx="132">
                  <c:v>639</c:v>
                </c:pt>
                <c:pt idx="133">
                  <c:v>639</c:v>
                </c:pt>
                <c:pt idx="134">
                  <c:v>640</c:v>
                </c:pt>
                <c:pt idx="135">
                  <c:v>641</c:v>
                </c:pt>
                <c:pt idx="136">
                  <c:v>641</c:v>
                </c:pt>
                <c:pt idx="137">
                  <c:v>642</c:v>
                </c:pt>
                <c:pt idx="138">
                  <c:v>643</c:v>
                </c:pt>
                <c:pt idx="139">
                  <c:v>644</c:v>
                </c:pt>
                <c:pt idx="140">
                  <c:v>646</c:v>
                </c:pt>
                <c:pt idx="141">
                  <c:v>648</c:v>
                </c:pt>
                <c:pt idx="142">
                  <c:v>650</c:v>
                </c:pt>
                <c:pt idx="143">
                  <c:v>653</c:v>
                </c:pt>
                <c:pt idx="144">
                  <c:v>655</c:v>
                </c:pt>
                <c:pt idx="145">
                  <c:v>660</c:v>
                </c:pt>
                <c:pt idx="146">
                  <c:v>663</c:v>
                </c:pt>
                <c:pt idx="147">
                  <c:v>666</c:v>
                </c:pt>
                <c:pt idx="148">
                  <c:v>669</c:v>
                </c:pt>
                <c:pt idx="149">
                  <c:v>672</c:v>
                </c:pt>
                <c:pt idx="150">
                  <c:v>674</c:v>
                </c:pt>
                <c:pt idx="151">
                  <c:v>676</c:v>
                </c:pt>
                <c:pt idx="152">
                  <c:v>678</c:v>
                </c:pt>
                <c:pt idx="153">
                  <c:v>679</c:v>
                </c:pt>
                <c:pt idx="154">
                  <c:v>679</c:v>
                </c:pt>
                <c:pt idx="155">
                  <c:v>681</c:v>
                </c:pt>
                <c:pt idx="156">
                  <c:v>682</c:v>
                </c:pt>
                <c:pt idx="157">
                  <c:v>683</c:v>
                </c:pt>
                <c:pt idx="158">
                  <c:v>684</c:v>
                </c:pt>
                <c:pt idx="159">
                  <c:v>684</c:v>
                </c:pt>
                <c:pt idx="160">
                  <c:v>686</c:v>
                </c:pt>
                <c:pt idx="161">
                  <c:v>687</c:v>
                </c:pt>
                <c:pt idx="162">
                  <c:v>689</c:v>
                </c:pt>
                <c:pt idx="163">
                  <c:v>690</c:v>
                </c:pt>
                <c:pt idx="164">
                  <c:v>693</c:v>
                </c:pt>
                <c:pt idx="165">
                  <c:v>695</c:v>
                </c:pt>
                <c:pt idx="166">
                  <c:v>696</c:v>
                </c:pt>
                <c:pt idx="167">
                  <c:v>700</c:v>
                </c:pt>
                <c:pt idx="168">
                  <c:v>701</c:v>
                </c:pt>
                <c:pt idx="169">
                  <c:v>749</c:v>
                </c:pt>
                <c:pt idx="170">
                  <c:v>760</c:v>
                </c:pt>
                <c:pt idx="171">
                  <c:v>767</c:v>
                </c:pt>
                <c:pt idx="172">
                  <c:v>772</c:v>
                </c:pt>
                <c:pt idx="173">
                  <c:v>776</c:v>
                </c:pt>
                <c:pt idx="174">
                  <c:v>780</c:v>
                </c:pt>
                <c:pt idx="175">
                  <c:v>782</c:v>
                </c:pt>
                <c:pt idx="176">
                  <c:v>784</c:v>
                </c:pt>
                <c:pt idx="177">
                  <c:v>786</c:v>
                </c:pt>
                <c:pt idx="178">
                  <c:v>788</c:v>
                </c:pt>
                <c:pt idx="179">
                  <c:v>790</c:v>
                </c:pt>
                <c:pt idx="180">
                  <c:v>792</c:v>
                </c:pt>
                <c:pt idx="181">
                  <c:v>793</c:v>
                </c:pt>
                <c:pt idx="182">
                  <c:v>794</c:v>
                </c:pt>
                <c:pt idx="183">
                  <c:v>795</c:v>
                </c:pt>
                <c:pt idx="184">
                  <c:v>796</c:v>
                </c:pt>
                <c:pt idx="185">
                  <c:v>797</c:v>
                </c:pt>
                <c:pt idx="186">
                  <c:v>798</c:v>
                </c:pt>
                <c:pt idx="187">
                  <c:v>800</c:v>
                </c:pt>
                <c:pt idx="188">
                  <c:v>801</c:v>
                </c:pt>
                <c:pt idx="189">
                  <c:v>802</c:v>
                </c:pt>
                <c:pt idx="190">
                  <c:v>803</c:v>
                </c:pt>
                <c:pt idx="191">
                  <c:v>805</c:v>
                </c:pt>
                <c:pt idx="192">
                  <c:v>808</c:v>
                </c:pt>
                <c:pt idx="193">
                  <c:v>811</c:v>
                </c:pt>
                <c:pt idx="194">
                  <c:v>814</c:v>
                </c:pt>
                <c:pt idx="195">
                  <c:v>816</c:v>
                </c:pt>
                <c:pt idx="196">
                  <c:v>819</c:v>
                </c:pt>
                <c:pt idx="197">
                  <c:v>821</c:v>
                </c:pt>
                <c:pt idx="198">
                  <c:v>822</c:v>
                </c:pt>
                <c:pt idx="199">
                  <c:v>823</c:v>
                </c:pt>
                <c:pt idx="200">
                  <c:v>824</c:v>
                </c:pt>
                <c:pt idx="201">
                  <c:v>825</c:v>
                </c:pt>
                <c:pt idx="202">
                  <c:v>825</c:v>
                </c:pt>
                <c:pt idx="203">
                  <c:v>826</c:v>
                </c:pt>
                <c:pt idx="204">
                  <c:v>827</c:v>
                </c:pt>
                <c:pt idx="205">
                  <c:v>826</c:v>
                </c:pt>
                <c:pt idx="206">
                  <c:v>828</c:v>
                </c:pt>
                <c:pt idx="207">
                  <c:v>829</c:v>
                </c:pt>
                <c:pt idx="208">
                  <c:v>829</c:v>
                </c:pt>
                <c:pt idx="209">
                  <c:v>830</c:v>
                </c:pt>
                <c:pt idx="210">
                  <c:v>831</c:v>
                </c:pt>
                <c:pt idx="211">
                  <c:v>833</c:v>
                </c:pt>
                <c:pt idx="212">
                  <c:v>834</c:v>
                </c:pt>
                <c:pt idx="213">
                  <c:v>835</c:v>
                </c:pt>
                <c:pt idx="214">
                  <c:v>838</c:v>
                </c:pt>
                <c:pt idx="215">
                  <c:v>839</c:v>
                </c:pt>
                <c:pt idx="216">
                  <c:v>841</c:v>
                </c:pt>
                <c:pt idx="217">
                  <c:v>843</c:v>
                </c:pt>
                <c:pt idx="218">
                  <c:v>844</c:v>
                </c:pt>
                <c:pt idx="219">
                  <c:v>846</c:v>
                </c:pt>
                <c:pt idx="220">
                  <c:v>848</c:v>
                </c:pt>
                <c:pt idx="221">
                  <c:v>850</c:v>
                </c:pt>
                <c:pt idx="222">
                  <c:v>851</c:v>
                </c:pt>
                <c:pt idx="223">
                  <c:v>853</c:v>
                </c:pt>
                <c:pt idx="224">
                  <c:v>853</c:v>
                </c:pt>
                <c:pt idx="225">
                  <c:v>854</c:v>
                </c:pt>
                <c:pt idx="226">
                  <c:v>855</c:v>
                </c:pt>
                <c:pt idx="227">
                  <c:v>855</c:v>
                </c:pt>
                <c:pt idx="228">
                  <c:v>856</c:v>
                </c:pt>
                <c:pt idx="229">
                  <c:v>857</c:v>
                </c:pt>
                <c:pt idx="230">
                  <c:v>858</c:v>
                </c:pt>
                <c:pt idx="231">
                  <c:v>858</c:v>
                </c:pt>
                <c:pt idx="232">
                  <c:v>859</c:v>
                </c:pt>
                <c:pt idx="233">
                  <c:v>860</c:v>
                </c:pt>
                <c:pt idx="234">
                  <c:v>860</c:v>
                </c:pt>
                <c:pt idx="235">
                  <c:v>861</c:v>
                </c:pt>
                <c:pt idx="236">
                  <c:v>863</c:v>
                </c:pt>
                <c:pt idx="237">
                  <c:v>865</c:v>
                </c:pt>
                <c:pt idx="238">
                  <c:v>867</c:v>
                </c:pt>
                <c:pt idx="239">
                  <c:v>870</c:v>
                </c:pt>
                <c:pt idx="240">
                  <c:v>872</c:v>
                </c:pt>
                <c:pt idx="241">
                  <c:v>874</c:v>
                </c:pt>
                <c:pt idx="242">
                  <c:v>877</c:v>
                </c:pt>
                <c:pt idx="243">
                  <c:v>880</c:v>
                </c:pt>
                <c:pt idx="244">
                  <c:v>883</c:v>
                </c:pt>
                <c:pt idx="245">
                  <c:v>884</c:v>
                </c:pt>
                <c:pt idx="246">
                  <c:v>885</c:v>
                </c:pt>
                <c:pt idx="247">
                  <c:v>886</c:v>
                </c:pt>
                <c:pt idx="248">
                  <c:v>887</c:v>
                </c:pt>
                <c:pt idx="249">
                  <c:v>887</c:v>
                </c:pt>
                <c:pt idx="250">
                  <c:v>889</c:v>
                </c:pt>
                <c:pt idx="251">
                  <c:v>888</c:v>
                </c:pt>
                <c:pt idx="252">
                  <c:v>890</c:v>
                </c:pt>
                <c:pt idx="253">
                  <c:v>890</c:v>
                </c:pt>
                <c:pt idx="254">
                  <c:v>891</c:v>
                </c:pt>
                <c:pt idx="255">
                  <c:v>891</c:v>
                </c:pt>
                <c:pt idx="256">
                  <c:v>892</c:v>
                </c:pt>
                <c:pt idx="257">
                  <c:v>892</c:v>
                </c:pt>
                <c:pt idx="258">
                  <c:v>893</c:v>
                </c:pt>
                <c:pt idx="259">
                  <c:v>895</c:v>
                </c:pt>
                <c:pt idx="260">
                  <c:v>895</c:v>
                </c:pt>
                <c:pt idx="261">
                  <c:v>898</c:v>
                </c:pt>
                <c:pt idx="262">
                  <c:v>900</c:v>
                </c:pt>
                <c:pt idx="263">
                  <c:v>906</c:v>
                </c:pt>
                <c:pt idx="264">
                  <c:v>905</c:v>
                </c:pt>
                <c:pt idx="265">
                  <c:v>908</c:v>
                </c:pt>
                <c:pt idx="266">
                  <c:v>912</c:v>
                </c:pt>
                <c:pt idx="267">
                  <c:v>915</c:v>
                </c:pt>
                <c:pt idx="268">
                  <c:v>916</c:v>
                </c:pt>
                <c:pt idx="269">
                  <c:v>917</c:v>
                </c:pt>
                <c:pt idx="270">
                  <c:v>917</c:v>
                </c:pt>
                <c:pt idx="271">
                  <c:v>917</c:v>
                </c:pt>
                <c:pt idx="272">
                  <c:v>917</c:v>
                </c:pt>
                <c:pt idx="273">
                  <c:v>917</c:v>
                </c:pt>
                <c:pt idx="274">
                  <c:v>917</c:v>
                </c:pt>
                <c:pt idx="275">
                  <c:v>917</c:v>
                </c:pt>
                <c:pt idx="276">
                  <c:v>917</c:v>
                </c:pt>
                <c:pt idx="277">
                  <c:v>917</c:v>
                </c:pt>
                <c:pt idx="278">
                  <c:v>918</c:v>
                </c:pt>
                <c:pt idx="279">
                  <c:v>918</c:v>
                </c:pt>
                <c:pt idx="280">
                  <c:v>918</c:v>
                </c:pt>
                <c:pt idx="281">
                  <c:v>919</c:v>
                </c:pt>
                <c:pt idx="282">
                  <c:v>919</c:v>
                </c:pt>
                <c:pt idx="283">
                  <c:v>920</c:v>
                </c:pt>
                <c:pt idx="284">
                  <c:v>921</c:v>
                </c:pt>
                <c:pt idx="285">
                  <c:v>922</c:v>
                </c:pt>
                <c:pt idx="286">
                  <c:v>923</c:v>
                </c:pt>
                <c:pt idx="287">
                  <c:v>924</c:v>
                </c:pt>
                <c:pt idx="288">
                  <c:v>926</c:v>
                </c:pt>
                <c:pt idx="289">
                  <c:v>927</c:v>
                </c:pt>
                <c:pt idx="290">
                  <c:v>929</c:v>
                </c:pt>
                <c:pt idx="291">
                  <c:v>930</c:v>
                </c:pt>
                <c:pt idx="292">
                  <c:v>931</c:v>
                </c:pt>
                <c:pt idx="293">
                  <c:v>932</c:v>
                </c:pt>
                <c:pt idx="294">
                  <c:v>933</c:v>
                </c:pt>
                <c:pt idx="295">
                  <c:v>933</c:v>
                </c:pt>
                <c:pt idx="296">
                  <c:v>934</c:v>
                </c:pt>
                <c:pt idx="297">
                  <c:v>934</c:v>
                </c:pt>
                <c:pt idx="298">
                  <c:v>934</c:v>
                </c:pt>
                <c:pt idx="299">
                  <c:v>934</c:v>
                </c:pt>
                <c:pt idx="300">
                  <c:v>934</c:v>
                </c:pt>
                <c:pt idx="301">
                  <c:v>935</c:v>
                </c:pt>
                <c:pt idx="302">
                  <c:v>935</c:v>
                </c:pt>
                <c:pt idx="303">
                  <c:v>936</c:v>
                </c:pt>
                <c:pt idx="304">
                  <c:v>936</c:v>
                </c:pt>
                <c:pt idx="305">
                  <c:v>936</c:v>
                </c:pt>
                <c:pt idx="306">
                  <c:v>937</c:v>
                </c:pt>
                <c:pt idx="307">
                  <c:v>938</c:v>
                </c:pt>
                <c:pt idx="308">
                  <c:v>938</c:v>
                </c:pt>
                <c:pt idx="309">
                  <c:v>939</c:v>
                </c:pt>
                <c:pt idx="310">
                  <c:v>940</c:v>
                </c:pt>
                <c:pt idx="311">
                  <c:v>940</c:v>
                </c:pt>
                <c:pt idx="312">
                  <c:v>937</c:v>
                </c:pt>
                <c:pt idx="313">
                  <c:v>936</c:v>
                </c:pt>
                <c:pt idx="314">
                  <c:v>937</c:v>
                </c:pt>
                <c:pt idx="315">
                  <c:v>939</c:v>
                </c:pt>
                <c:pt idx="316">
                  <c:v>941</c:v>
                </c:pt>
                <c:pt idx="317">
                  <c:v>941</c:v>
                </c:pt>
                <c:pt idx="318">
                  <c:v>942</c:v>
                </c:pt>
                <c:pt idx="319">
                  <c:v>943</c:v>
                </c:pt>
                <c:pt idx="320">
                  <c:v>943</c:v>
                </c:pt>
                <c:pt idx="321">
                  <c:v>943</c:v>
                </c:pt>
                <c:pt idx="322">
                  <c:v>944</c:v>
                </c:pt>
                <c:pt idx="323">
                  <c:v>943</c:v>
                </c:pt>
                <c:pt idx="324">
                  <c:v>944</c:v>
                </c:pt>
                <c:pt idx="325">
                  <c:v>944</c:v>
                </c:pt>
                <c:pt idx="326">
                  <c:v>944</c:v>
                </c:pt>
                <c:pt idx="327">
                  <c:v>945</c:v>
                </c:pt>
                <c:pt idx="328">
                  <c:v>945</c:v>
                </c:pt>
                <c:pt idx="329">
                  <c:v>945</c:v>
                </c:pt>
                <c:pt idx="330">
                  <c:v>946</c:v>
                </c:pt>
                <c:pt idx="331">
                  <c:v>946</c:v>
                </c:pt>
                <c:pt idx="332">
                  <c:v>948</c:v>
                </c:pt>
                <c:pt idx="333">
                  <c:v>949</c:v>
                </c:pt>
                <c:pt idx="334">
                  <c:v>950</c:v>
                </c:pt>
                <c:pt idx="335">
                  <c:v>952</c:v>
                </c:pt>
                <c:pt idx="336">
                  <c:v>954</c:v>
                </c:pt>
                <c:pt idx="337">
                  <c:v>953</c:v>
                </c:pt>
                <c:pt idx="338">
                  <c:v>950</c:v>
                </c:pt>
                <c:pt idx="339">
                  <c:v>953</c:v>
                </c:pt>
                <c:pt idx="340">
                  <c:v>958</c:v>
                </c:pt>
                <c:pt idx="341">
                  <c:v>963</c:v>
                </c:pt>
                <c:pt idx="342">
                  <c:v>967</c:v>
                </c:pt>
                <c:pt idx="343">
                  <c:v>971</c:v>
                </c:pt>
                <c:pt idx="344">
                  <c:v>974</c:v>
                </c:pt>
                <c:pt idx="345">
                  <c:v>975</c:v>
                </c:pt>
                <c:pt idx="346">
                  <c:v>976</c:v>
                </c:pt>
                <c:pt idx="347">
                  <c:v>977</c:v>
                </c:pt>
                <c:pt idx="348">
                  <c:v>978</c:v>
                </c:pt>
                <c:pt idx="349">
                  <c:v>977</c:v>
                </c:pt>
                <c:pt idx="350">
                  <c:v>978</c:v>
                </c:pt>
                <c:pt idx="351">
                  <c:v>978</c:v>
                </c:pt>
                <c:pt idx="352">
                  <c:v>978</c:v>
                </c:pt>
                <c:pt idx="353">
                  <c:v>978</c:v>
                </c:pt>
                <c:pt idx="354">
                  <c:v>979</c:v>
                </c:pt>
                <c:pt idx="355">
                  <c:v>978</c:v>
                </c:pt>
                <c:pt idx="356">
                  <c:v>978</c:v>
                </c:pt>
                <c:pt idx="357">
                  <c:v>978</c:v>
                </c:pt>
                <c:pt idx="358">
                  <c:v>978</c:v>
                </c:pt>
                <c:pt idx="359">
                  <c:v>985</c:v>
                </c:pt>
                <c:pt idx="360">
                  <c:v>993</c:v>
                </c:pt>
                <c:pt idx="361">
                  <c:v>999</c:v>
                </c:pt>
                <c:pt idx="362">
                  <c:v>1004</c:v>
                </c:pt>
                <c:pt idx="363">
                  <c:v>1009</c:v>
                </c:pt>
                <c:pt idx="364">
                  <c:v>1012</c:v>
                </c:pt>
                <c:pt idx="365">
                  <c:v>1016</c:v>
                </c:pt>
                <c:pt idx="366">
                  <c:v>1019</c:v>
                </c:pt>
                <c:pt idx="367">
                  <c:v>1022</c:v>
                </c:pt>
                <c:pt idx="368">
                  <c:v>1023</c:v>
                </c:pt>
                <c:pt idx="369">
                  <c:v>1025</c:v>
                </c:pt>
                <c:pt idx="370">
                  <c:v>1025</c:v>
                </c:pt>
                <c:pt idx="371">
                  <c:v>1026</c:v>
                </c:pt>
                <c:pt idx="372">
                  <c:v>1027</c:v>
                </c:pt>
                <c:pt idx="373">
                  <c:v>1027</c:v>
                </c:pt>
                <c:pt idx="374">
                  <c:v>1028</c:v>
                </c:pt>
                <c:pt idx="375">
                  <c:v>1028</c:v>
                </c:pt>
                <c:pt idx="376">
                  <c:v>1028</c:v>
                </c:pt>
                <c:pt idx="377">
                  <c:v>1028</c:v>
                </c:pt>
                <c:pt idx="378">
                  <c:v>1028</c:v>
                </c:pt>
                <c:pt idx="379">
                  <c:v>1029</c:v>
                </c:pt>
                <c:pt idx="380">
                  <c:v>1029</c:v>
                </c:pt>
                <c:pt idx="381">
                  <c:v>1029</c:v>
                </c:pt>
                <c:pt idx="382">
                  <c:v>1031</c:v>
                </c:pt>
                <c:pt idx="383">
                  <c:v>1031</c:v>
                </c:pt>
                <c:pt idx="384">
                  <c:v>1032</c:v>
                </c:pt>
                <c:pt idx="385">
                  <c:v>1036</c:v>
                </c:pt>
                <c:pt idx="386">
                  <c:v>1040</c:v>
                </c:pt>
                <c:pt idx="387">
                  <c:v>1040</c:v>
                </c:pt>
                <c:pt idx="388">
                  <c:v>1043</c:v>
                </c:pt>
                <c:pt idx="389">
                  <c:v>1043</c:v>
                </c:pt>
                <c:pt idx="390">
                  <c:v>1044</c:v>
                </c:pt>
                <c:pt idx="391">
                  <c:v>1044</c:v>
                </c:pt>
                <c:pt idx="392">
                  <c:v>1043</c:v>
                </c:pt>
                <c:pt idx="393">
                  <c:v>1043</c:v>
                </c:pt>
                <c:pt idx="394">
                  <c:v>1043</c:v>
                </c:pt>
                <c:pt idx="395">
                  <c:v>1043</c:v>
                </c:pt>
                <c:pt idx="396">
                  <c:v>1043</c:v>
                </c:pt>
                <c:pt idx="397">
                  <c:v>1042</c:v>
                </c:pt>
                <c:pt idx="398">
                  <c:v>1042</c:v>
                </c:pt>
                <c:pt idx="399">
                  <c:v>1042</c:v>
                </c:pt>
                <c:pt idx="400">
                  <c:v>1042</c:v>
                </c:pt>
                <c:pt idx="401">
                  <c:v>1042</c:v>
                </c:pt>
                <c:pt idx="402">
                  <c:v>1043</c:v>
                </c:pt>
                <c:pt idx="403">
                  <c:v>1043</c:v>
                </c:pt>
                <c:pt idx="404">
                  <c:v>1044</c:v>
                </c:pt>
                <c:pt idx="405">
                  <c:v>1045</c:v>
                </c:pt>
                <c:pt idx="406">
                  <c:v>1044</c:v>
                </c:pt>
                <c:pt idx="407">
                  <c:v>1045</c:v>
                </c:pt>
                <c:pt idx="408">
                  <c:v>1052</c:v>
                </c:pt>
                <c:pt idx="409">
                  <c:v>1059</c:v>
                </c:pt>
                <c:pt idx="410">
                  <c:v>1065</c:v>
                </c:pt>
                <c:pt idx="411">
                  <c:v>1070</c:v>
                </c:pt>
                <c:pt idx="412">
                  <c:v>1075</c:v>
                </c:pt>
                <c:pt idx="413">
                  <c:v>1078</c:v>
                </c:pt>
                <c:pt idx="414">
                  <c:v>1082</c:v>
                </c:pt>
                <c:pt idx="415">
                  <c:v>1084</c:v>
                </c:pt>
                <c:pt idx="416">
                  <c:v>1086</c:v>
                </c:pt>
                <c:pt idx="417">
                  <c:v>1088</c:v>
                </c:pt>
                <c:pt idx="418">
                  <c:v>1089</c:v>
                </c:pt>
                <c:pt idx="419">
                  <c:v>1090</c:v>
                </c:pt>
                <c:pt idx="420">
                  <c:v>1092</c:v>
                </c:pt>
                <c:pt idx="421">
                  <c:v>1092</c:v>
                </c:pt>
                <c:pt idx="422">
                  <c:v>1093</c:v>
                </c:pt>
                <c:pt idx="423">
                  <c:v>1093</c:v>
                </c:pt>
                <c:pt idx="424">
                  <c:v>1093</c:v>
                </c:pt>
                <c:pt idx="425">
                  <c:v>1094</c:v>
                </c:pt>
                <c:pt idx="426">
                  <c:v>1095</c:v>
                </c:pt>
                <c:pt idx="427">
                  <c:v>1095</c:v>
                </c:pt>
                <c:pt idx="428">
                  <c:v>1096</c:v>
                </c:pt>
                <c:pt idx="429">
                  <c:v>1098</c:v>
                </c:pt>
                <c:pt idx="430">
                  <c:v>1098</c:v>
                </c:pt>
                <c:pt idx="431">
                  <c:v>1100</c:v>
                </c:pt>
                <c:pt idx="432">
                  <c:v>1103</c:v>
                </c:pt>
                <c:pt idx="433">
                  <c:v>1106</c:v>
                </c:pt>
                <c:pt idx="434">
                  <c:v>1108</c:v>
                </c:pt>
                <c:pt idx="435">
                  <c:v>1111</c:v>
                </c:pt>
                <c:pt idx="436">
                  <c:v>1113</c:v>
                </c:pt>
                <c:pt idx="437">
                  <c:v>1115</c:v>
                </c:pt>
                <c:pt idx="438">
                  <c:v>1115</c:v>
                </c:pt>
                <c:pt idx="439">
                  <c:v>1116</c:v>
                </c:pt>
                <c:pt idx="440">
                  <c:v>1116</c:v>
                </c:pt>
                <c:pt idx="441">
                  <c:v>1117</c:v>
                </c:pt>
                <c:pt idx="442">
                  <c:v>1117</c:v>
                </c:pt>
                <c:pt idx="443">
                  <c:v>1117</c:v>
                </c:pt>
                <c:pt idx="444">
                  <c:v>1117</c:v>
                </c:pt>
                <c:pt idx="445">
                  <c:v>1117</c:v>
                </c:pt>
                <c:pt idx="446">
                  <c:v>1117</c:v>
                </c:pt>
                <c:pt idx="447">
                  <c:v>1117</c:v>
                </c:pt>
                <c:pt idx="448">
                  <c:v>1118</c:v>
                </c:pt>
                <c:pt idx="449">
                  <c:v>1118</c:v>
                </c:pt>
                <c:pt idx="450">
                  <c:v>1119</c:v>
                </c:pt>
                <c:pt idx="451">
                  <c:v>1120</c:v>
                </c:pt>
                <c:pt idx="452">
                  <c:v>1121</c:v>
                </c:pt>
                <c:pt idx="453">
                  <c:v>1123</c:v>
                </c:pt>
                <c:pt idx="454">
                  <c:v>1125</c:v>
                </c:pt>
                <c:pt idx="455">
                  <c:v>1127</c:v>
                </c:pt>
                <c:pt idx="456">
                  <c:v>1129</c:v>
                </c:pt>
                <c:pt idx="457">
                  <c:v>1131</c:v>
                </c:pt>
                <c:pt idx="458">
                  <c:v>1133</c:v>
                </c:pt>
                <c:pt idx="459">
                  <c:v>1136</c:v>
                </c:pt>
                <c:pt idx="460">
                  <c:v>1138</c:v>
                </c:pt>
                <c:pt idx="461">
                  <c:v>1140</c:v>
                </c:pt>
                <c:pt idx="462">
                  <c:v>1141</c:v>
                </c:pt>
                <c:pt idx="463">
                  <c:v>1142</c:v>
                </c:pt>
                <c:pt idx="464">
                  <c:v>1142</c:v>
                </c:pt>
                <c:pt idx="465">
                  <c:v>1143</c:v>
                </c:pt>
                <c:pt idx="466">
                  <c:v>1144</c:v>
                </c:pt>
                <c:pt idx="467">
                  <c:v>1144</c:v>
                </c:pt>
                <c:pt idx="468">
                  <c:v>1144</c:v>
                </c:pt>
                <c:pt idx="469">
                  <c:v>1144</c:v>
                </c:pt>
                <c:pt idx="470">
                  <c:v>1146</c:v>
                </c:pt>
                <c:pt idx="471">
                  <c:v>1145</c:v>
                </c:pt>
                <c:pt idx="472">
                  <c:v>1146</c:v>
                </c:pt>
                <c:pt idx="473">
                  <c:v>1147</c:v>
                </c:pt>
                <c:pt idx="474">
                  <c:v>1147</c:v>
                </c:pt>
                <c:pt idx="475">
                  <c:v>1149</c:v>
                </c:pt>
                <c:pt idx="476">
                  <c:v>1150</c:v>
                </c:pt>
                <c:pt idx="477">
                  <c:v>1151</c:v>
                </c:pt>
                <c:pt idx="478">
                  <c:v>1153</c:v>
                </c:pt>
                <c:pt idx="479">
                  <c:v>1155</c:v>
                </c:pt>
                <c:pt idx="480">
                  <c:v>1157</c:v>
                </c:pt>
                <c:pt idx="481">
                  <c:v>1158</c:v>
                </c:pt>
                <c:pt idx="482">
                  <c:v>1159</c:v>
                </c:pt>
                <c:pt idx="483">
                  <c:v>1160</c:v>
                </c:pt>
                <c:pt idx="484">
                  <c:v>1161</c:v>
                </c:pt>
                <c:pt idx="485">
                  <c:v>1161</c:v>
                </c:pt>
                <c:pt idx="486">
                  <c:v>1162</c:v>
                </c:pt>
                <c:pt idx="487">
                  <c:v>1162</c:v>
                </c:pt>
                <c:pt idx="488">
                  <c:v>1163</c:v>
                </c:pt>
                <c:pt idx="489">
                  <c:v>1163</c:v>
                </c:pt>
                <c:pt idx="490">
                  <c:v>1163</c:v>
                </c:pt>
                <c:pt idx="491">
                  <c:v>1164</c:v>
                </c:pt>
                <c:pt idx="492">
                  <c:v>1164</c:v>
                </c:pt>
                <c:pt idx="493">
                  <c:v>1164</c:v>
                </c:pt>
                <c:pt idx="494">
                  <c:v>1165</c:v>
                </c:pt>
                <c:pt idx="495">
                  <c:v>1165</c:v>
                </c:pt>
                <c:pt idx="496">
                  <c:v>1166</c:v>
                </c:pt>
                <c:pt idx="497">
                  <c:v>1166</c:v>
                </c:pt>
                <c:pt idx="498">
                  <c:v>1166</c:v>
                </c:pt>
                <c:pt idx="499">
                  <c:v>1166</c:v>
                </c:pt>
                <c:pt idx="500">
                  <c:v>1167</c:v>
                </c:pt>
                <c:pt idx="501">
                  <c:v>1167</c:v>
                </c:pt>
                <c:pt idx="502">
                  <c:v>1169</c:v>
                </c:pt>
                <c:pt idx="503">
                  <c:v>1170</c:v>
                </c:pt>
                <c:pt idx="504">
                  <c:v>1212</c:v>
                </c:pt>
                <c:pt idx="505">
                  <c:v>1217</c:v>
                </c:pt>
                <c:pt idx="506">
                  <c:v>1221</c:v>
                </c:pt>
                <c:pt idx="507">
                  <c:v>1224</c:v>
                </c:pt>
                <c:pt idx="508">
                  <c:v>1227</c:v>
                </c:pt>
                <c:pt idx="509">
                  <c:v>1228</c:v>
                </c:pt>
                <c:pt idx="510">
                  <c:v>1228</c:v>
                </c:pt>
                <c:pt idx="511">
                  <c:v>1229</c:v>
                </c:pt>
                <c:pt idx="512">
                  <c:v>1229</c:v>
                </c:pt>
                <c:pt idx="513">
                  <c:v>1230</c:v>
                </c:pt>
                <c:pt idx="514">
                  <c:v>1230</c:v>
                </c:pt>
                <c:pt idx="515">
                  <c:v>1230</c:v>
                </c:pt>
                <c:pt idx="516">
                  <c:v>1230</c:v>
                </c:pt>
                <c:pt idx="517">
                  <c:v>1230</c:v>
                </c:pt>
                <c:pt idx="518">
                  <c:v>1230</c:v>
                </c:pt>
                <c:pt idx="519">
                  <c:v>1230</c:v>
                </c:pt>
                <c:pt idx="520">
                  <c:v>1230</c:v>
                </c:pt>
                <c:pt idx="521">
                  <c:v>1230</c:v>
                </c:pt>
                <c:pt idx="522">
                  <c:v>1231</c:v>
                </c:pt>
                <c:pt idx="523">
                  <c:v>1232</c:v>
                </c:pt>
                <c:pt idx="524">
                  <c:v>1232</c:v>
                </c:pt>
                <c:pt idx="525">
                  <c:v>1233</c:v>
                </c:pt>
                <c:pt idx="526">
                  <c:v>1237</c:v>
                </c:pt>
                <c:pt idx="527">
                  <c:v>1240</c:v>
                </c:pt>
                <c:pt idx="528">
                  <c:v>1241</c:v>
                </c:pt>
                <c:pt idx="529">
                  <c:v>1243</c:v>
                </c:pt>
                <c:pt idx="530">
                  <c:v>1246</c:v>
                </c:pt>
                <c:pt idx="531">
                  <c:v>1248</c:v>
                </c:pt>
                <c:pt idx="532">
                  <c:v>1249</c:v>
                </c:pt>
                <c:pt idx="533">
                  <c:v>1250</c:v>
                </c:pt>
                <c:pt idx="534">
                  <c:v>1251</c:v>
                </c:pt>
                <c:pt idx="535">
                  <c:v>1252</c:v>
                </c:pt>
                <c:pt idx="536">
                  <c:v>1252</c:v>
                </c:pt>
                <c:pt idx="537">
                  <c:v>1252</c:v>
                </c:pt>
                <c:pt idx="538">
                  <c:v>1253</c:v>
                </c:pt>
                <c:pt idx="539">
                  <c:v>1254</c:v>
                </c:pt>
                <c:pt idx="540">
                  <c:v>1254</c:v>
                </c:pt>
                <c:pt idx="541">
                  <c:v>1254</c:v>
                </c:pt>
                <c:pt idx="542">
                  <c:v>1255</c:v>
                </c:pt>
                <c:pt idx="543">
                  <c:v>1255</c:v>
                </c:pt>
                <c:pt idx="544">
                  <c:v>1256</c:v>
                </c:pt>
                <c:pt idx="545">
                  <c:v>1256</c:v>
                </c:pt>
                <c:pt idx="546">
                  <c:v>1256</c:v>
                </c:pt>
                <c:pt idx="547">
                  <c:v>1256</c:v>
                </c:pt>
                <c:pt idx="548">
                  <c:v>1256</c:v>
                </c:pt>
                <c:pt idx="549">
                  <c:v>1257</c:v>
                </c:pt>
                <c:pt idx="550">
                  <c:v>1258</c:v>
                </c:pt>
                <c:pt idx="551">
                  <c:v>1258</c:v>
                </c:pt>
                <c:pt idx="552">
                  <c:v>1257</c:v>
                </c:pt>
                <c:pt idx="553">
                  <c:v>1258</c:v>
                </c:pt>
                <c:pt idx="554">
                  <c:v>1258</c:v>
                </c:pt>
                <c:pt idx="555">
                  <c:v>1258</c:v>
                </c:pt>
                <c:pt idx="556">
                  <c:v>1256</c:v>
                </c:pt>
                <c:pt idx="557">
                  <c:v>1257</c:v>
                </c:pt>
                <c:pt idx="558">
                  <c:v>1257</c:v>
                </c:pt>
                <c:pt idx="559">
                  <c:v>1258</c:v>
                </c:pt>
                <c:pt idx="560">
                  <c:v>1259</c:v>
                </c:pt>
                <c:pt idx="561">
                  <c:v>1260</c:v>
                </c:pt>
                <c:pt idx="562">
                  <c:v>1261</c:v>
                </c:pt>
                <c:pt idx="563">
                  <c:v>1262</c:v>
                </c:pt>
                <c:pt idx="564">
                  <c:v>1263</c:v>
                </c:pt>
                <c:pt idx="565">
                  <c:v>1264</c:v>
                </c:pt>
                <c:pt idx="566">
                  <c:v>1265</c:v>
                </c:pt>
                <c:pt idx="567">
                  <c:v>1266</c:v>
                </c:pt>
                <c:pt idx="568">
                  <c:v>1266</c:v>
                </c:pt>
                <c:pt idx="569">
                  <c:v>1267</c:v>
                </c:pt>
                <c:pt idx="570">
                  <c:v>1268</c:v>
                </c:pt>
                <c:pt idx="571">
                  <c:v>1269</c:v>
                </c:pt>
                <c:pt idx="572">
                  <c:v>1270</c:v>
                </c:pt>
                <c:pt idx="573">
                  <c:v>1271</c:v>
                </c:pt>
                <c:pt idx="574">
                  <c:v>1273</c:v>
                </c:pt>
                <c:pt idx="575">
                  <c:v>1274</c:v>
                </c:pt>
                <c:pt idx="576">
                  <c:v>1276</c:v>
                </c:pt>
                <c:pt idx="577">
                  <c:v>1279</c:v>
                </c:pt>
                <c:pt idx="578">
                  <c:v>1282</c:v>
                </c:pt>
                <c:pt idx="579">
                  <c:v>1285</c:v>
                </c:pt>
                <c:pt idx="580">
                  <c:v>1288</c:v>
                </c:pt>
                <c:pt idx="581">
                  <c:v>1289</c:v>
                </c:pt>
                <c:pt idx="582">
                  <c:v>1291</c:v>
                </c:pt>
                <c:pt idx="583">
                  <c:v>1291</c:v>
                </c:pt>
                <c:pt idx="584">
                  <c:v>1291</c:v>
                </c:pt>
                <c:pt idx="585">
                  <c:v>1292</c:v>
                </c:pt>
                <c:pt idx="586">
                  <c:v>1293</c:v>
                </c:pt>
                <c:pt idx="587">
                  <c:v>1293</c:v>
                </c:pt>
                <c:pt idx="588">
                  <c:v>1293</c:v>
                </c:pt>
                <c:pt idx="589">
                  <c:v>1293</c:v>
                </c:pt>
                <c:pt idx="590">
                  <c:v>1294</c:v>
                </c:pt>
                <c:pt idx="591">
                  <c:v>1295</c:v>
                </c:pt>
                <c:pt idx="592">
                  <c:v>1295</c:v>
                </c:pt>
                <c:pt idx="593">
                  <c:v>1296</c:v>
                </c:pt>
                <c:pt idx="594">
                  <c:v>1297</c:v>
                </c:pt>
                <c:pt idx="595">
                  <c:v>1297</c:v>
                </c:pt>
                <c:pt idx="596">
                  <c:v>1298</c:v>
                </c:pt>
                <c:pt idx="597">
                  <c:v>1299</c:v>
                </c:pt>
                <c:pt idx="598">
                  <c:v>1300</c:v>
                </c:pt>
                <c:pt idx="599">
                  <c:v>1302</c:v>
                </c:pt>
                <c:pt idx="600">
                  <c:v>1302</c:v>
                </c:pt>
                <c:pt idx="601">
                  <c:v>1303</c:v>
                </c:pt>
                <c:pt idx="602">
                  <c:v>1306</c:v>
                </c:pt>
                <c:pt idx="603">
                  <c:v>1309</c:v>
                </c:pt>
                <c:pt idx="604">
                  <c:v>1311</c:v>
                </c:pt>
                <c:pt idx="605">
                  <c:v>1312</c:v>
                </c:pt>
                <c:pt idx="606">
                  <c:v>1313</c:v>
                </c:pt>
                <c:pt idx="607">
                  <c:v>1315</c:v>
                </c:pt>
                <c:pt idx="608">
                  <c:v>1316</c:v>
                </c:pt>
                <c:pt idx="609">
                  <c:v>1317</c:v>
                </c:pt>
                <c:pt idx="610">
                  <c:v>1318</c:v>
                </c:pt>
                <c:pt idx="611">
                  <c:v>1318</c:v>
                </c:pt>
                <c:pt idx="612">
                  <c:v>1319</c:v>
                </c:pt>
                <c:pt idx="613">
                  <c:v>1320</c:v>
                </c:pt>
                <c:pt idx="614">
                  <c:v>1321</c:v>
                </c:pt>
                <c:pt idx="615">
                  <c:v>1321</c:v>
                </c:pt>
                <c:pt idx="616">
                  <c:v>1323</c:v>
                </c:pt>
                <c:pt idx="617">
                  <c:v>1323</c:v>
                </c:pt>
                <c:pt idx="618">
                  <c:v>1324</c:v>
                </c:pt>
                <c:pt idx="619">
                  <c:v>1325</c:v>
                </c:pt>
                <c:pt idx="620">
                  <c:v>1327</c:v>
                </c:pt>
                <c:pt idx="621">
                  <c:v>1328</c:v>
                </c:pt>
                <c:pt idx="622">
                  <c:v>1330</c:v>
                </c:pt>
                <c:pt idx="623">
                  <c:v>1332</c:v>
                </c:pt>
                <c:pt idx="624">
                  <c:v>1334</c:v>
                </c:pt>
                <c:pt idx="625">
                  <c:v>1335</c:v>
                </c:pt>
                <c:pt idx="626">
                  <c:v>1337</c:v>
                </c:pt>
                <c:pt idx="627">
                  <c:v>1339</c:v>
                </c:pt>
                <c:pt idx="628">
                  <c:v>1340</c:v>
                </c:pt>
                <c:pt idx="629">
                  <c:v>1342</c:v>
                </c:pt>
                <c:pt idx="630">
                  <c:v>1343</c:v>
                </c:pt>
                <c:pt idx="631">
                  <c:v>1344</c:v>
                </c:pt>
                <c:pt idx="632">
                  <c:v>1345</c:v>
                </c:pt>
                <c:pt idx="633">
                  <c:v>1346</c:v>
                </c:pt>
                <c:pt idx="634">
                  <c:v>1347</c:v>
                </c:pt>
                <c:pt idx="635">
                  <c:v>1347</c:v>
                </c:pt>
                <c:pt idx="636">
                  <c:v>1348</c:v>
                </c:pt>
                <c:pt idx="637">
                  <c:v>1349</c:v>
                </c:pt>
                <c:pt idx="638">
                  <c:v>1349</c:v>
                </c:pt>
                <c:pt idx="639">
                  <c:v>1350</c:v>
                </c:pt>
                <c:pt idx="640">
                  <c:v>1351</c:v>
                </c:pt>
                <c:pt idx="641">
                  <c:v>1351</c:v>
                </c:pt>
                <c:pt idx="642">
                  <c:v>1352</c:v>
                </c:pt>
                <c:pt idx="643">
                  <c:v>1353</c:v>
                </c:pt>
                <c:pt idx="644">
                  <c:v>1354</c:v>
                </c:pt>
                <c:pt idx="645">
                  <c:v>1356</c:v>
                </c:pt>
                <c:pt idx="646">
                  <c:v>1358</c:v>
                </c:pt>
                <c:pt idx="647">
                  <c:v>1360</c:v>
                </c:pt>
                <c:pt idx="648">
                  <c:v>1362</c:v>
                </c:pt>
                <c:pt idx="649">
                  <c:v>1364</c:v>
                </c:pt>
                <c:pt idx="650">
                  <c:v>1366</c:v>
                </c:pt>
                <c:pt idx="651">
                  <c:v>1368</c:v>
                </c:pt>
                <c:pt idx="652">
                  <c:v>1370</c:v>
                </c:pt>
                <c:pt idx="653">
                  <c:v>1371</c:v>
                </c:pt>
                <c:pt idx="654">
                  <c:v>1372</c:v>
                </c:pt>
                <c:pt idx="655">
                  <c:v>1372</c:v>
                </c:pt>
                <c:pt idx="656">
                  <c:v>1373</c:v>
                </c:pt>
                <c:pt idx="657">
                  <c:v>1374</c:v>
                </c:pt>
                <c:pt idx="658">
                  <c:v>1374</c:v>
                </c:pt>
                <c:pt idx="659">
                  <c:v>1374</c:v>
                </c:pt>
                <c:pt idx="660">
                  <c:v>1375</c:v>
                </c:pt>
                <c:pt idx="661">
                  <c:v>1375</c:v>
                </c:pt>
                <c:pt idx="662">
                  <c:v>1375</c:v>
                </c:pt>
                <c:pt idx="663">
                  <c:v>1376</c:v>
                </c:pt>
                <c:pt idx="664">
                  <c:v>1376</c:v>
                </c:pt>
                <c:pt idx="665">
                  <c:v>1377</c:v>
                </c:pt>
                <c:pt idx="666">
                  <c:v>1377</c:v>
                </c:pt>
                <c:pt idx="667">
                  <c:v>1379</c:v>
                </c:pt>
                <c:pt idx="668">
                  <c:v>137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4261-984E-B5EB-B3A1A32F46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9191167"/>
        <c:axId val="1"/>
      </c:scatterChart>
      <c:valAx>
        <c:axId val="19919116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ime [days]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"/>
        <c:crosses val="autoZero"/>
        <c:crossBetween val="midCat"/>
      </c:val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ssure [hPa]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91167"/>
        <c:crosses val="autoZero"/>
        <c:crossBetween val="midCat"/>
      </c:valAx>
      <c:spPr>
        <a:noFill/>
        <a:ln w="25400">
          <a:noFill/>
        </a:ln>
      </c:spPr>
    </c:plotArea>
    <c:legend>
      <c:legendPos val="r"/>
      <c:overlay val="0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parison of </a:t>
            </a:r>
            <a:r>
              <a:rPr lang="en-US" baseline="0" dirty="0"/>
              <a:t>Three Samples with Unstirred Fermentation Residues</a:t>
            </a:r>
            <a:endParaRPr lang="en-US" dirty="0"/>
          </a:p>
        </c:rich>
      </c:tx>
      <c:overlay val="0"/>
      <c:spPr>
        <a:noFill/>
        <a:ln w="25400">
          <a:noFill/>
        </a:ln>
      </c:spPr>
    </c:title>
    <c:autoTitleDeleted val="0"/>
    <c:plotArea>
      <c:layout/>
      <c:scatterChart>
        <c:scatterStyle val="smoothMarker"/>
        <c:varyColors val="0"/>
        <c:ser>
          <c:idx val="2"/>
          <c:order val="0"/>
          <c:tx>
            <c:v>7</c:v>
          </c:tx>
          <c:marker>
            <c:symbol val="none"/>
          </c:marker>
          <c:xVal>
            <c:numRef>
              <c:f>'7 Gärrest ungerührt'!$D$20:$D$688</c:f>
              <c:numCache>
                <c:formatCode>0</c:formatCode>
                <c:ptCount val="669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  <c:pt idx="668">
                  <c:v>27.833333333333332</c:v>
                </c:pt>
              </c:numCache>
            </c:numRef>
          </c:xVal>
          <c:yVal>
            <c:numRef>
              <c:f>'7 Gärrest ungerührt'!$E$20:$E$688</c:f>
              <c:numCache>
                <c:formatCode>General</c:formatCode>
                <c:ptCount val="669"/>
                <c:pt idx="0">
                  <c:v>0</c:v>
                </c:pt>
                <c:pt idx="1">
                  <c:v>56</c:v>
                </c:pt>
                <c:pt idx="2">
                  <c:v>76</c:v>
                </c:pt>
                <c:pt idx="3">
                  <c:v>91</c:v>
                </c:pt>
                <c:pt idx="4">
                  <c:v>102</c:v>
                </c:pt>
                <c:pt idx="5">
                  <c:v>110</c:v>
                </c:pt>
                <c:pt idx="6">
                  <c:v>116</c:v>
                </c:pt>
                <c:pt idx="7">
                  <c:v>121</c:v>
                </c:pt>
                <c:pt idx="8">
                  <c:v>125</c:v>
                </c:pt>
                <c:pt idx="9">
                  <c:v>128</c:v>
                </c:pt>
                <c:pt idx="10">
                  <c:v>132</c:v>
                </c:pt>
                <c:pt idx="11">
                  <c:v>137</c:v>
                </c:pt>
                <c:pt idx="12">
                  <c:v>141</c:v>
                </c:pt>
                <c:pt idx="13">
                  <c:v>145</c:v>
                </c:pt>
                <c:pt idx="14">
                  <c:v>147</c:v>
                </c:pt>
                <c:pt idx="15">
                  <c:v>150</c:v>
                </c:pt>
                <c:pt idx="16">
                  <c:v>152</c:v>
                </c:pt>
                <c:pt idx="17">
                  <c:v>154</c:v>
                </c:pt>
                <c:pt idx="18">
                  <c:v>157</c:v>
                </c:pt>
                <c:pt idx="19">
                  <c:v>158</c:v>
                </c:pt>
                <c:pt idx="20">
                  <c:v>166</c:v>
                </c:pt>
                <c:pt idx="21">
                  <c:v>172</c:v>
                </c:pt>
                <c:pt idx="22">
                  <c:v>174</c:v>
                </c:pt>
                <c:pt idx="23">
                  <c:v>175</c:v>
                </c:pt>
                <c:pt idx="24">
                  <c:v>179</c:v>
                </c:pt>
                <c:pt idx="25">
                  <c:v>182</c:v>
                </c:pt>
                <c:pt idx="26">
                  <c:v>187</c:v>
                </c:pt>
                <c:pt idx="27">
                  <c:v>238</c:v>
                </c:pt>
                <c:pt idx="28">
                  <c:v>246</c:v>
                </c:pt>
                <c:pt idx="29">
                  <c:v>251</c:v>
                </c:pt>
                <c:pt idx="30">
                  <c:v>256</c:v>
                </c:pt>
                <c:pt idx="31">
                  <c:v>259</c:v>
                </c:pt>
                <c:pt idx="32">
                  <c:v>262</c:v>
                </c:pt>
                <c:pt idx="33">
                  <c:v>264</c:v>
                </c:pt>
                <c:pt idx="34">
                  <c:v>267</c:v>
                </c:pt>
                <c:pt idx="35">
                  <c:v>269</c:v>
                </c:pt>
                <c:pt idx="36">
                  <c:v>271</c:v>
                </c:pt>
                <c:pt idx="37">
                  <c:v>273</c:v>
                </c:pt>
                <c:pt idx="38">
                  <c:v>275</c:v>
                </c:pt>
                <c:pt idx="39">
                  <c:v>277</c:v>
                </c:pt>
                <c:pt idx="40">
                  <c:v>279</c:v>
                </c:pt>
                <c:pt idx="41">
                  <c:v>281</c:v>
                </c:pt>
                <c:pt idx="42">
                  <c:v>283</c:v>
                </c:pt>
                <c:pt idx="43">
                  <c:v>285</c:v>
                </c:pt>
                <c:pt idx="44">
                  <c:v>288</c:v>
                </c:pt>
                <c:pt idx="45">
                  <c:v>290</c:v>
                </c:pt>
                <c:pt idx="46">
                  <c:v>294</c:v>
                </c:pt>
                <c:pt idx="47">
                  <c:v>297</c:v>
                </c:pt>
                <c:pt idx="48">
                  <c:v>303</c:v>
                </c:pt>
                <c:pt idx="49">
                  <c:v>311</c:v>
                </c:pt>
                <c:pt idx="50">
                  <c:v>318</c:v>
                </c:pt>
                <c:pt idx="51">
                  <c:v>324</c:v>
                </c:pt>
                <c:pt idx="52">
                  <c:v>326</c:v>
                </c:pt>
                <c:pt idx="53">
                  <c:v>327</c:v>
                </c:pt>
                <c:pt idx="54">
                  <c:v>328</c:v>
                </c:pt>
                <c:pt idx="55">
                  <c:v>329</c:v>
                </c:pt>
                <c:pt idx="56">
                  <c:v>330</c:v>
                </c:pt>
                <c:pt idx="57">
                  <c:v>332</c:v>
                </c:pt>
                <c:pt idx="58">
                  <c:v>333</c:v>
                </c:pt>
                <c:pt idx="59">
                  <c:v>333</c:v>
                </c:pt>
                <c:pt idx="60">
                  <c:v>335</c:v>
                </c:pt>
                <c:pt idx="61">
                  <c:v>335</c:v>
                </c:pt>
                <c:pt idx="62">
                  <c:v>336</c:v>
                </c:pt>
                <c:pt idx="63">
                  <c:v>337</c:v>
                </c:pt>
                <c:pt idx="64">
                  <c:v>338</c:v>
                </c:pt>
                <c:pt idx="65">
                  <c:v>340</c:v>
                </c:pt>
                <c:pt idx="66">
                  <c:v>341</c:v>
                </c:pt>
                <c:pt idx="67">
                  <c:v>339</c:v>
                </c:pt>
                <c:pt idx="68">
                  <c:v>338</c:v>
                </c:pt>
                <c:pt idx="69">
                  <c:v>338</c:v>
                </c:pt>
                <c:pt idx="70">
                  <c:v>339</c:v>
                </c:pt>
                <c:pt idx="71">
                  <c:v>340</c:v>
                </c:pt>
                <c:pt idx="72">
                  <c:v>342</c:v>
                </c:pt>
                <c:pt idx="73">
                  <c:v>369</c:v>
                </c:pt>
                <c:pt idx="74">
                  <c:v>373</c:v>
                </c:pt>
                <c:pt idx="75">
                  <c:v>374</c:v>
                </c:pt>
                <c:pt idx="76">
                  <c:v>377</c:v>
                </c:pt>
                <c:pt idx="77">
                  <c:v>379</c:v>
                </c:pt>
                <c:pt idx="78">
                  <c:v>380</c:v>
                </c:pt>
                <c:pt idx="79">
                  <c:v>381</c:v>
                </c:pt>
                <c:pt idx="80">
                  <c:v>382</c:v>
                </c:pt>
                <c:pt idx="81">
                  <c:v>383</c:v>
                </c:pt>
                <c:pt idx="82">
                  <c:v>383</c:v>
                </c:pt>
                <c:pt idx="83">
                  <c:v>383</c:v>
                </c:pt>
                <c:pt idx="84">
                  <c:v>384</c:v>
                </c:pt>
                <c:pt idx="85">
                  <c:v>385</c:v>
                </c:pt>
                <c:pt idx="86">
                  <c:v>385</c:v>
                </c:pt>
                <c:pt idx="87">
                  <c:v>386</c:v>
                </c:pt>
                <c:pt idx="88">
                  <c:v>386</c:v>
                </c:pt>
                <c:pt idx="89">
                  <c:v>387</c:v>
                </c:pt>
                <c:pt idx="90">
                  <c:v>388</c:v>
                </c:pt>
                <c:pt idx="91">
                  <c:v>390</c:v>
                </c:pt>
                <c:pt idx="92">
                  <c:v>391</c:v>
                </c:pt>
                <c:pt idx="93">
                  <c:v>393</c:v>
                </c:pt>
                <c:pt idx="94">
                  <c:v>398</c:v>
                </c:pt>
                <c:pt idx="95">
                  <c:v>402</c:v>
                </c:pt>
                <c:pt idx="96">
                  <c:v>402</c:v>
                </c:pt>
                <c:pt idx="97">
                  <c:v>404</c:v>
                </c:pt>
                <c:pt idx="98">
                  <c:v>406</c:v>
                </c:pt>
                <c:pt idx="99">
                  <c:v>408</c:v>
                </c:pt>
                <c:pt idx="100">
                  <c:v>410</c:v>
                </c:pt>
                <c:pt idx="101">
                  <c:v>411</c:v>
                </c:pt>
                <c:pt idx="102">
                  <c:v>413</c:v>
                </c:pt>
                <c:pt idx="103">
                  <c:v>414</c:v>
                </c:pt>
                <c:pt idx="104">
                  <c:v>416</c:v>
                </c:pt>
                <c:pt idx="105">
                  <c:v>417</c:v>
                </c:pt>
                <c:pt idx="106">
                  <c:v>417</c:v>
                </c:pt>
                <c:pt idx="107">
                  <c:v>418</c:v>
                </c:pt>
                <c:pt idx="108">
                  <c:v>419</c:v>
                </c:pt>
                <c:pt idx="109">
                  <c:v>419</c:v>
                </c:pt>
                <c:pt idx="110">
                  <c:v>420</c:v>
                </c:pt>
                <c:pt idx="111">
                  <c:v>420</c:v>
                </c:pt>
                <c:pt idx="112">
                  <c:v>420</c:v>
                </c:pt>
                <c:pt idx="113">
                  <c:v>421</c:v>
                </c:pt>
                <c:pt idx="114">
                  <c:v>421</c:v>
                </c:pt>
                <c:pt idx="115">
                  <c:v>422</c:v>
                </c:pt>
                <c:pt idx="116">
                  <c:v>423</c:v>
                </c:pt>
                <c:pt idx="117">
                  <c:v>425</c:v>
                </c:pt>
                <c:pt idx="118">
                  <c:v>426</c:v>
                </c:pt>
                <c:pt idx="119">
                  <c:v>427</c:v>
                </c:pt>
                <c:pt idx="120">
                  <c:v>430</c:v>
                </c:pt>
                <c:pt idx="121">
                  <c:v>433</c:v>
                </c:pt>
                <c:pt idx="122">
                  <c:v>435</c:v>
                </c:pt>
                <c:pt idx="123">
                  <c:v>437</c:v>
                </c:pt>
                <c:pt idx="124">
                  <c:v>439</c:v>
                </c:pt>
                <c:pt idx="125">
                  <c:v>439</c:v>
                </c:pt>
                <c:pt idx="126">
                  <c:v>440</c:v>
                </c:pt>
                <c:pt idx="127">
                  <c:v>441</c:v>
                </c:pt>
                <c:pt idx="128">
                  <c:v>441</c:v>
                </c:pt>
                <c:pt idx="129">
                  <c:v>441</c:v>
                </c:pt>
                <c:pt idx="130">
                  <c:v>441</c:v>
                </c:pt>
                <c:pt idx="131">
                  <c:v>441</c:v>
                </c:pt>
                <c:pt idx="132">
                  <c:v>442</c:v>
                </c:pt>
                <c:pt idx="133">
                  <c:v>442</c:v>
                </c:pt>
                <c:pt idx="134">
                  <c:v>442</c:v>
                </c:pt>
                <c:pt idx="135">
                  <c:v>443</c:v>
                </c:pt>
                <c:pt idx="136">
                  <c:v>443</c:v>
                </c:pt>
                <c:pt idx="137">
                  <c:v>443</c:v>
                </c:pt>
                <c:pt idx="138">
                  <c:v>444</c:v>
                </c:pt>
                <c:pt idx="139">
                  <c:v>445</c:v>
                </c:pt>
                <c:pt idx="140">
                  <c:v>446</c:v>
                </c:pt>
                <c:pt idx="141">
                  <c:v>447</c:v>
                </c:pt>
                <c:pt idx="142">
                  <c:v>449</c:v>
                </c:pt>
                <c:pt idx="143">
                  <c:v>452</c:v>
                </c:pt>
                <c:pt idx="144">
                  <c:v>455</c:v>
                </c:pt>
                <c:pt idx="145">
                  <c:v>459</c:v>
                </c:pt>
                <c:pt idx="146">
                  <c:v>462</c:v>
                </c:pt>
                <c:pt idx="147">
                  <c:v>464</c:v>
                </c:pt>
                <c:pt idx="148">
                  <c:v>466</c:v>
                </c:pt>
                <c:pt idx="149">
                  <c:v>468</c:v>
                </c:pt>
                <c:pt idx="150">
                  <c:v>470</c:v>
                </c:pt>
                <c:pt idx="151">
                  <c:v>471</c:v>
                </c:pt>
                <c:pt idx="152">
                  <c:v>472</c:v>
                </c:pt>
                <c:pt idx="153">
                  <c:v>473</c:v>
                </c:pt>
                <c:pt idx="154">
                  <c:v>474</c:v>
                </c:pt>
                <c:pt idx="155">
                  <c:v>475</c:v>
                </c:pt>
                <c:pt idx="156">
                  <c:v>476</c:v>
                </c:pt>
                <c:pt idx="157">
                  <c:v>476</c:v>
                </c:pt>
                <c:pt idx="158">
                  <c:v>477</c:v>
                </c:pt>
                <c:pt idx="159">
                  <c:v>478</c:v>
                </c:pt>
                <c:pt idx="160">
                  <c:v>479</c:v>
                </c:pt>
                <c:pt idx="161">
                  <c:v>480</c:v>
                </c:pt>
                <c:pt idx="162">
                  <c:v>481</c:v>
                </c:pt>
                <c:pt idx="163">
                  <c:v>483</c:v>
                </c:pt>
                <c:pt idx="164">
                  <c:v>485</c:v>
                </c:pt>
                <c:pt idx="165">
                  <c:v>486</c:v>
                </c:pt>
                <c:pt idx="166">
                  <c:v>487</c:v>
                </c:pt>
                <c:pt idx="167">
                  <c:v>489</c:v>
                </c:pt>
                <c:pt idx="168">
                  <c:v>491</c:v>
                </c:pt>
                <c:pt idx="169">
                  <c:v>535</c:v>
                </c:pt>
                <c:pt idx="170">
                  <c:v>541</c:v>
                </c:pt>
                <c:pt idx="171">
                  <c:v>546</c:v>
                </c:pt>
                <c:pt idx="172">
                  <c:v>550</c:v>
                </c:pt>
                <c:pt idx="173">
                  <c:v>553</c:v>
                </c:pt>
                <c:pt idx="174">
                  <c:v>555</c:v>
                </c:pt>
                <c:pt idx="175">
                  <c:v>558</c:v>
                </c:pt>
                <c:pt idx="176">
                  <c:v>560</c:v>
                </c:pt>
                <c:pt idx="177">
                  <c:v>562</c:v>
                </c:pt>
                <c:pt idx="178">
                  <c:v>564</c:v>
                </c:pt>
                <c:pt idx="179">
                  <c:v>565</c:v>
                </c:pt>
                <c:pt idx="180">
                  <c:v>567</c:v>
                </c:pt>
                <c:pt idx="181">
                  <c:v>568</c:v>
                </c:pt>
                <c:pt idx="182">
                  <c:v>570</c:v>
                </c:pt>
                <c:pt idx="183">
                  <c:v>571</c:v>
                </c:pt>
                <c:pt idx="184">
                  <c:v>573</c:v>
                </c:pt>
                <c:pt idx="185">
                  <c:v>574</c:v>
                </c:pt>
                <c:pt idx="186">
                  <c:v>574</c:v>
                </c:pt>
                <c:pt idx="187">
                  <c:v>575</c:v>
                </c:pt>
                <c:pt idx="188">
                  <c:v>577</c:v>
                </c:pt>
                <c:pt idx="189">
                  <c:v>578</c:v>
                </c:pt>
                <c:pt idx="190">
                  <c:v>579</c:v>
                </c:pt>
                <c:pt idx="191">
                  <c:v>581</c:v>
                </c:pt>
                <c:pt idx="192">
                  <c:v>582</c:v>
                </c:pt>
                <c:pt idx="193">
                  <c:v>585</c:v>
                </c:pt>
                <c:pt idx="194">
                  <c:v>587</c:v>
                </c:pt>
                <c:pt idx="195">
                  <c:v>590</c:v>
                </c:pt>
                <c:pt idx="196">
                  <c:v>592</c:v>
                </c:pt>
                <c:pt idx="197">
                  <c:v>593</c:v>
                </c:pt>
                <c:pt idx="198">
                  <c:v>594</c:v>
                </c:pt>
                <c:pt idx="199">
                  <c:v>595</c:v>
                </c:pt>
                <c:pt idx="200">
                  <c:v>596</c:v>
                </c:pt>
                <c:pt idx="201">
                  <c:v>596</c:v>
                </c:pt>
                <c:pt idx="202">
                  <c:v>597</c:v>
                </c:pt>
                <c:pt idx="203">
                  <c:v>598</c:v>
                </c:pt>
                <c:pt idx="204">
                  <c:v>599</c:v>
                </c:pt>
                <c:pt idx="205">
                  <c:v>599</c:v>
                </c:pt>
                <c:pt idx="206">
                  <c:v>600</c:v>
                </c:pt>
                <c:pt idx="207">
                  <c:v>600</c:v>
                </c:pt>
                <c:pt idx="208">
                  <c:v>601</c:v>
                </c:pt>
                <c:pt idx="209">
                  <c:v>601</c:v>
                </c:pt>
                <c:pt idx="210">
                  <c:v>602</c:v>
                </c:pt>
                <c:pt idx="211">
                  <c:v>603</c:v>
                </c:pt>
                <c:pt idx="212">
                  <c:v>604</c:v>
                </c:pt>
                <c:pt idx="213">
                  <c:v>605</c:v>
                </c:pt>
                <c:pt idx="214">
                  <c:v>606</c:v>
                </c:pt>
                <c:pt idx="215">
                  <c:v>607</c:v>
                </c:pt>
                <c:pt idx="216">
                  <c:v>609</c:v>
                </c:pt>
                <c:pt idx="217">
                  <c:v>610</c:v>
                </c:pt>
                <c:pt idx="218">
                  <c:v>611</c:v>
                </c:pt>
                <c:pt idx="219">
                  <c:v>613</c:v>
                </c:pt>
                <c:pt idx="220">
                  <c:v>614</c:v>
                </c:pt>
                <c:pt idx="221">
                  <c:v>615</c:v>
                </c:pt>
                <c:pt idx="222">
                  <c:v>616</c:v>
                </c:pt>
                <c:pt idx="223">
                  <c:v>617</c:v>
                </c:pt>
                <c:pt idx="224">
                  <c:v>618</c:v>
                </c:pt>
                <c:pt idx="225">
                  <c:v>618</c:v>
                </c:pt>
                <c:pt idx="226">
                  <c:v>619</c:v>
                </c:pt>
                <c:pt idx="227">
                  <c:v>619</c:v>
                </c:pt>
                <c:pt idx="228">
                  <c:v>620</c:v>
                </c:pt>
                <c:pt idx="229">
                  <c:v>620</c:v>
                </c:pt>
                <c:pt idx="230">
                  <c:v>620</c:v>
                </c:pt>
                <c:pt idx="231">
                  <c:v>621</c:v>
                </c:pt>
                <c:pt idx="232">
                  <c:v>621</c:v>
                </c:pt>
                <c:pt idx="233">
                  <c:v>622</c:v>
                </c:pt>
                <c:pt idx="234">
                  <c:v>623</c:v>
                </c:pt>
                <c:pt idx="235">
                  <c:v>623</c:v>
                </c:pt>
                <c:pt idx="236">
                  <c:v>624</c:v>
                </c:pt>
                <c:pt idx="237">
                  <c:v>625</c:v>
                </c:pt>
                <c:pt idx="238">
                  <c:v>626</c:v>
                </c:pt>
                <c:pt idx="239">
                  <c:v>627</c:v>
                </c:pt>
                <c:pt idx="240">
                  <c:v>629</c:v>
                </c:pt>
                <c:pt idx="241">
                  <c:v>631</c:v>
                </c:pt>
                <c:pt idx="242">
                  <c:v>633</c:v>
                </c:pt>
                <c:pt idx="243">
                  <c:v>635</c:v>
                </c:pt>
                <c:pt idx="244">
                  <c:v>635</c:v>
                </c:pt>
                <c:pt idx="245">
                  <c:v>637</c:v>
                </c:pt>
                <c:pt idx="246">
                  <c:v>637</c:v>
                </c:pt>
                <c:pt idx="247">
                  <c:v>638</c:v>
                </c:pt>
                <c:pt idx="248">
                  <c:v>638</c:v>
                </c:pt>
                <c:pt idx="249">
                  <c:v>640</c:v>
                </c:pt>
                <c:pt idx="250">
                  <c:v>640</c:v>
                </c:pt>
                <c:pt idx="251">
                  <c:v>640</c:v>
                </c:pt>
                <c:pt idx="252">
                  <c:v>640</c:v>
                </c:pt>
                <c:pt idx="253">
                  <c:v>641</c:v>
                </c:pt>
                <c:pt idx="254">
                  <c:v>641</c:v>
                </c:pt>
                <c:pt idx="255">
                  <c:v>642</c:v>
                </c:pt>
                <c:pt idx="256">
                  <c:v>642</c:v>
                </c:pt>
                <c:pt idx="257">
                  <c:v>643</c:v>
                </c:pt>
                <c:pt idx="258">
                  <c:v>643</c:v>
                </c:pt>
                <c:pt idx="259">
                  <c:v>643</c:v>
                </c:pt>
                <c:pt idx="260">
                  <c:v>645</c:v>
                </c:pt>
                <c:pt idx="261">
                  <c:v>645</c:v>
                </c:pt>
                <c:pt idx="262">
                  <c:v>646</c:v>
                </c:pt>
                <c:pt idx="263">
                  <c:v>664</c:v>
                </c:pt>
                <c:pt idx="264">
                  <c:v>667</c:v>
                </c:pt>
                <c:pt idx="265">
                  <c:v>670</c:v>
                </c:pt>
                <c:pt idx="266">
                  <c:v>673</c:v>
                </c:pt>
                <c:pt idx="267">
                  <c:v>674</c:v>
                </c:pt>
                <c:pt idx="268">
                  <c:v>675</c:v>
                </c:pt>
                <c:pt idx="269">
                  <c:v>675</c:v>
                </c:pt>
                <c:pt idx="270">
                  <c:v>675</c:v>
                </c:pt>
                <c:pt idx="271">
                  <c:v>675</c:v>
                </c:pt>
                <c:pt idx="272">
                  <c:v>675</c:v>
                </c:pt>
                <c:pt idx="273">
                  <c:v>675</c:v>
                </c:pt>
                <c:pt idx="274">
                  <c:v>675</c:v>
                </c:pt>
                <c:pt idx="275">
                  <c:v>675</c:v>
                </c:pt>
                <c:pt idx="276">
                  <c:v>676</c:v>
                </c:pt>
                <c:pt idx="277">
                  <c:v>676</c:v>
                </c:pt>
                <c:pt idx="278">
                  <c:v>676</c:v>
                </c:pt>
                <c:pt idx="279">
                  <c:v>676</c:v>
                </c:pt>
                <c:pt idx="280">
                  <c:v>677</c:v>
                </c:pt>
                <c:pt idx="281">
                  <c:v>677</c:v>
                </c:pt>
                <c:pt idx="282">
                  <c:v>678</c:v>
                </c:pt>
                <c:pt idx="283">
                  <c:v>678</c:v>
                </c:pt>
                <c:pt idx="284">
                  <c:v>679</c:v>
                </c:pt>
                <c:pt idx="285">
                  <c:v>680</c:v>
                </c:pt>
                <c:pt idx="286">
                  <c:v>680</c:v>
                </c:pt>
                <c:pt idx="287">
                  <c:v>682</c:v>
                </c:pt>
                <c:pt idx="288">
                  <c:v>683</c:v>
                </c:pt>
                <c:pt idx="289">
                  <c:v>684</c:v>
                </c:pt>
                <c:pt idx="290">
                  <c:v>685</c:v>
                </c:pt>
                <c:pt idx="291">
                  <c:v>686</c:v>
                </c:pt>
                <c:pt idx="292">
                  <c:v>687</c:v>
                </c:pt>
                <c:pt idx="293">
                  <c:v>687</c:v>
                </c:pt>
                <c:pt idx="294">
                  <c:v>687</c:v>
                </c:pt>
                <c:pt idx="295">
                  <c:v>688</c:v>
                </c:pt>
                <c:pt idx="296">
                  <c:v>688</c:v>
                </c:pt>
                <c:pt idx="297">
                  <c:v>689</c:v>
                </c:pt>
                <c:pt idx="298">
                  <c:v>689</c:v>
                </c:pt>
                <c:pt idx="299">
                  <c:v>689</c:v>
                </c:pt>
                <c:pt idx="300">
                  <c:v>689</c:v>
                </c:pt>
                <c:pt idx="301">
                  <c:v>690</c:v>
                </c:pt>
                <c:pt idx="302">
                  <c:v>690</c:v>
                </c:pt>
                <c:pt idx="303">
                  <c:v>691</c:v>
                </c:pt>
                <c:pt idx="304">
                  <c:v>691</c:v>
                </c:pt>
                <c:pt idx="305">
                  <c:v>691</c:v>
                </c:pt>
                <c:pt idx="306">
                  <c:v>692</c:v>
                </c:pt>
                <c:pt idx="307">
                  <c:v>692</c:v>
                </c:pt>
                <c:pt idx="308">
                  <c:v>692</c:v>
                </c:pt>
                <c:pt idx="309">
                  <c:v>692</c:v>
                </c:pt>
                <c:pt idx="310">
                  <c:v>693</c:v>
                </c:pt>
                <c:pt idx="311">
                  <c:v>694</c:v>
                </c:pt>
                <c:pt idx="312">
                  <c:v>690</c:v>
                </c:pt>
                <c:pt idx="313">
                  <c:v>690</c:v>
                </c:pt>
                <c:pt idx="314">
                  <c:v>690</c:v>
                </c:pt>
                <c:pt idx="315">
                  <c:v>691</c:v>
                </c:pt>
                <c:pt idx="316">
                  <c:v>691</c:v>
                </c:pt>
                <c:pt idx="317">
                  <c:v>691</c:v>
                </c:pt>
                <c:pt idx="318">
                  <c:v>691</c:v>
                </c:pt>
                <c:pt idx="319">
                  <c:v>691</c:v>
                </c:pt>
                <c:pt idx="320">
                  <c:v>691</c:v>
                </c:pt>
                <c:pt idx="321">
                  <c:v>690</c:v>
                </c:pt>
                <c:pt idx="322">
                  <c:v>691</c:v>
                </c:pt>
                <c:pt idx="323">
                  <c:v>690</c:v>
                </c:pt>
                <c:pt idx="324">
                  <c:v>691</c:v>
                </c:pt>
                <c:pt idx="325">
                  <c:v>691</c:v>
                </c:pt>
                <c:pt idx="326">
                  <c:v>690</c:v>
                </c:pt>
                <c:pt idx="327">
                  <c:v>690</c:v>
                </c:pt>
                <c:pt idx="328">
                  <c:v>691</c:v>
                </c:pt>
                <c:pt idx="329">
                  <c:v>690</c:v>
                </c:pt>
                <c:pt idx="330">
                  <c:v>691</c:v>
                </c:pt>
                <c:pt idx="331">
                  <c:v>692</c:v>
                </c:pt>
                <c:pt idx="332">
                  <c:v>692</c:v>
                </c:pt>
                <c:pt idx="333">
                  <c:v>693</c:v>
                </c:pt>
                <c:pt idx="334">
                  <c:v>694</c:v>
                </c:pt>
                <c:pt idx="335">
                  <c:v>695</c:v>
                </c:pt>
                <c:pt idx="336">
                  <c:v>697</c:v>
                </c:pt>
                <c:pt idx="337">
                  <c:v>696</c:v>
                </c:pt>
                <c:pt idx="338">
                  <c:v>694</c:v>
                </c:pt>
                <c:pt idx="339">
                  <c:v>694</c:v>
                </c:pt>
                <c:pt idx="340">
                  <c:v>696</c:v>
                </c:pt>
                <c:pt idx="341">
                  <c:v>698</c:v>
                </c:pt>
                <c:pt idx="342">
                  <c:v>700</c:v>
                </c:pt>
                <c:pt idx="343">
                  <c:v>701</c:v>
                </c:pt>
                <c:pt idx="344">
                  <c:v>701</c:v>
                </c:pt>
                <c:pt idx="345">
                  <c:v>702</c:v>
                </c:pt>
                <c:pt idx="346">
                  <c:v>702</c:v>
                </c:pt>
                <c:pt idx="347">
                  <c:v>702</c:v>
                </c:pt>
                <c:pt idx="348">
                  <c:v>701</c:v>
                </c:pt>
                <c:pt idx="349">
                  <c:v>701</c:v>
                </c:pt>
                <c:pt idx="350">
                  <c:v>701</c:v>
                </c:pt>
                <c:pt idx="351">
                  <c:v>700</c:v>
                </c:pt>
                <c:pt idx="352">
                  <c:v>700</c:v>
                </c:pt>
                <c:pt idx="353">
                  <c:v>700</c:v>
                </c:pt>
                <c:pt idx="354">
                  <c:v>700</c:v>
                </c:pt>
                <c:pt idx="355">
                  <c:v>699</c:v>
                </c:pt>
                <c:pt idx="356">
                  <c:v>699</c:v>
                </c:pt>
                <c:pt idx="357">
                  <c:v>698</c:v>
                </c:pt>
                <c:pt idx="358">
                  <c:v>698</c:v>
                </c:pt>
                <c:pt idx="359">
                  <c:v>720</c:v>
                </c:pt>
                <c:pt idx="360">
                  <c:v>727</c:v>
                </c:pt>
                <c:pt idx="361">
                  <c:v>732</c:v>
                </c:pt>
                <c:pt idx="362">
                  <c:v>736</c:v>
                </c:pt>
                <c:pt idx="363">
                  <c:v>739</c:v>
                </c:pt>
                <c:pt idx="364">
                  <c:v>743</c:v>
                </c:pt>
                <c:pt idx="365">
                  <c:v>746</c:v>
                </c:pt>
                <c:pt idx="366">
                  <c:v>749</c:v>
                </c:pt>
                <c:pt idx="367">
                  <c:v>751</c:v>
                </c:pt>
                <c:pt idx="368">
                  <c:v>753</c:v>
                </c:pt>
                <c:pt idx="369">
                  <c:v>754</c:v>
                </c:pt>
                <c:pt idx="370">
                  <c:v>755</c:v>
                </c:pt>
                <c:pt idx="371">
                  <c:v>756</c:v>
                </c:pt>
                <c:pt idx="372">
                  <c:v>757</c:v>
                </c:pt>
                <c:pt idx="373">
                  <c:v>758</c:v>
                </c:pt>
                <c:pt idx="374">
                  <c:v>759</c:v>
                </c:pt>
                <c:pt idx="375">
                  <c:v>759</c:v>
                </c:pt>
                <c:pt idx="376">
                  <c:v>760</c:v>
                </c:pt>
                <c:pt idx="377">
                  <c:v>760</c:v>
                </c:pt>
                <c:pt idx="378">
                  <c:v>761</c:v>
                </c:pt>
                <c:pt idx="379">
                  <c:v>761</c:v>
                </c:pt>
                <c:pt idx="380">
                  <c:v>762</c:v>
                </c:pt>
                <c:pt idx="381">
                  <c:v>763</c:v>
                </c:pt>
                <c:pt idx="382">
                  <c:v>764</c:v>
                </c:pt>
                <c:pt idx="383">
                  <c:v>764</c:v>
                </c:pt>
                <c:pt idx="384">
                  <c:v>766</c:v>
                </c:pt>
                <c:pt idx="385">
                  <c:v>769</c:v>
                </c:pt>
                <c:pt idx="386">
                  <c:v>772</c:v>
                </c:pt>
                <c:pt idx="387">
                  <c:v>773</c:v>
                </c:pt>
                <c:pt idx="388">
                  <c:v>774</c:v>
                </c:pt>
                <c:pt idx="389">
                  <c:v>774</c:v>
                </c:pt>
                <c:pt idx="390">
                  <c:v>773</c:v>
                </c:pt>
                <c:pt idx="391">
                  <c:v>773</c:v>
                </c:pt>
                <c:pt idx="392">
                  <c:v>773</c:v>
                </c:pt>
                <c:pt idx="393">
                  <c:v>773</c:v>
                </c:pt>
                <c:pt idx="394">
                  <c:v>773</c:v>
                </c:pt>
                <c:pt idx="395">
                  <c:v>772</c:v>
                </c:pt>
                <c:pt idx="396">
                  <c:v>773</c:v>
                </c:pt>
                <c:pt idx="397">
                  <c:v>773</c:v>
                </c:pt>
                <c:pt idx="398">
                  <c:v>773</c:v>
                </c:pt>
                <c:pt idx="399">
                  <c:v>772</c:v>
                </c:pt>
                <c:pt idx="400">
                  <c:v>773</c:v>
                </c:pt>
                <c:pt idx="401">
                  <c:v>773</c:v>
                </c:pt>
                <c:pt idx="402">
                  <c:v>773</c:v>
                </c:pt>
                <c:pt idx="403">
                  <c:v>774</c:v>
                </c:pt>
                <c:pt idx="404">
                  <c:v>774</c:v>
                </c:pt>
                <c:pt idx="405">
                  <c:v>775</c:v>
                </c:pt>
                <c:pt idx="406">
                  <c:v>776</c:v>
                </c:pt>
                <c:pt idx="407">
                  <c:v>780</c:v>
                </c:pt>
                <c:pt idx="408">
                  <c:v>785</c:v>
                </c:pt>
                <c:pt idx="409">
                  <c:v>789</c:v>
                </c:pt>
                <c:pt idx="410">
                  <c:v>794</c:v>
                </c:pt>
                <c:pt idx="411">
                  <c:v>799</c:v>
                </c:pt>
                <c:pt idx="412">
                  <c:v>802</c:v>
                </c:pt>
                <c:pt idx="413">
                  <c:v>804</c:v>
                </c:pt>
                <c:pt idx="414">
                  <c:v>807</c:v>
                </c:pt>
                <c:pt idx="415">
                  <c:v>809</c:v>
                </c:pt>
                <c:pt idx="416">
                  <c:v>811</c:v>
                </c:pt>
                <c:pt idx="417">
                  <c:v>813</c:v>
                </c:pt>
                <c:pt idx="418">
                  <c:v>814</c:v>
                </c:pt>
                <c:pt idx="419">
                  <c:v>815</c:v>
                </c:pt>
                <c:pt idx="420">
                  <c:v>817</c:v>
                </c:pt>
                <c:pt idx="421">
                  <c:v>818</c:v>
                </c:pt>
                <c:pt idx="422">
                  <c:v>818</c:v>
                </c:pt>
                <c:pt idx="423">
                  <c:v>819</c:v>
                </c:pt>
                <c:pt idx="424">
                  <c:v>819</c:v>
                </c:pt>
                <c:pt idx="425">
                  <c:v>820</c:v>
                </c:pt>
                <c:pt idx="426">
                  <c:v>821</c:v>
                </c:pt>
                <c:pt idx="427">
                  <c:v>822</c:v>
                </c:pt>
                <c:pt idx="428">
                  <c:v>823</c:v>
                </c:pt>
                <c:pt idx="429">
                  <c:v>824</c:v>
                </c:pt>
                <c:pt idx="430">
                  <c:v>825</c:v>
                </c:pt>
                <c:pt idx="431">
                  <c:v>827</c:v>
                </c:pt>
                <c:pt idx="432">
                  <c:v>829</c:v>
                </c:pt>
                <c:pt idx="433">
                  <c:v>831</c:v>
                </c:pt>
                <c:pt idx="434">
                  <c:v>833</c:v>
                </c:pt>
                <c:pt idx="435">
                  <c:v>835</c:v>
                </c:pt>
                <c:pt idx="436">
                  <c:v>837</c:v>
                </c:pt>
                <c:pt idx="437">
                  <c:v>838</c:v>
                </c:pt>
                <c:pt idx="438">
                  <c:v>839</c:v>
                </c:pt>
                <c:pt idx="439">
                  <c:v>840</c:v>
                </c:pt>
                <c:pt idx="440">
                  <c:v>840</c:v>
                </c:pt>
                <c:pt idx="441">
                  <c:v>841</c:v>
                </c:pt>
                <c:pt idx="442">
                  <c:v>841</c:v>
                </c:pt>
                <c:pt idx="443">
                  <c:v>842</c:v>
                </c:pt>
                <c:pt idx="444">
                  <c:v>842</c:v>
                </c:pt>
                <c:pt idx="445">
                  <c:v>843</c:v>
                </c:pt>
                <c:pt idx="446">
                  <c:v>843</c:v>
                </c:pt>
                <c:pt idx="447">
                  <c:v>843</c:v>
                </c:pt>
                <c:pt idx="448">
                  <c:v>844</c:v>
                </c:pt>
                <c:pt idx="449">
                  <c:v>844</c:v>
                </c:pt>
                <c:pt idx="450">
                  <c:v>845</c:v>
                </c:pt>
                <c:pt idx="451">
                  <c:v>846</c:v>
                </c:pt>
                <c:pt idx="452">
                  <c:v>846</c:v>
                </c:pt>
                <c:pt idx="453">
                  <c:v>847</c:v>
                </c:pt>
                <c:pt idx="454">
                  <c:v>849</c:v>
                </c:pt>
                <c:pt idx="455">
                  <c:v>851</c:v>
                </c:pt>
                <c:pt idx="456">
                  <c:v>852</c:v>
                </c:pt>
                <c:pt idx="457">
                  <c:v>853</c:v>
                </c:pt>
                <c:pt idx="458">
                  <c:v>856</c:v>
                </c:pt>
                <c:pt idx="459">
                  <c:v>858</c:v>
                </c:pt>
                <c:pt idx="460">
                  <c:v>859</c:v>
                </c:pt>
                <c:pt idx="461">
                  <c:v>860</c:v>
                </c:pt>
                <c:pt idx="462">
                  <c:v>861</c:v>
                </c:pt>
                <c:pt idx="463">
                  <c:v>862</c:v>
                </c:pt>
                <c:pt idx="464">
                  <c:v>863</c:v>
                </c:pt>
                <c:pt idx="465">
                  <c:v>863</c:v>
                </c:pt>
                <c:pt idx="466">
                  <c:v>864</c:v>
                </c:pt>
                <c:pt idx="467">
                  <c:v>864</c:v>
                </c:pt>
                <c:pt idx="468">
                  <c:v>865</c:v>
                </c:pt>
                <c:pt idx="469">
                  <c:v>865</c:v>
                </c:pt>
                <c:pt idx="470">
                  <c:v>865</c:v>
                </c:pt>
                <c:pt idx="471">
                  <c:v>866</c:v>
                </c:pt>
                <c:pt idx="472">
                  <c:v>866</c:v>
                </c:pt>
                <c:pt idx="473">
                  <c:v>867</c:v>
                </c:pt>
                <c:pt idx="474">
                  <c:v>867</c:v>
                </c:pt>
                <c:pt idx="475">
                  <c:v>868</c:v>
                </c:pt>
                <c:pt idx="476">
                  <c:v>868</c:v>
                </c:pt>
                <c:pt idx="477">
                  <c:v>869</c:v>
                </c:pt>
                <c:pt idx="478">
                  <c:v>871</c:v>
                </c:pt>
                <c:pt idx="479">
                  <c:v>872</c:v>
                </c:pt>
                <c:pt idx="480">
                  <c:v>873</c:v>
                </c:pt>
                <c:pt idx="481">
                  <c:v>874</c:v>
                </c:pt>
                <c:pt idx="482">
                  <c:v>875</c:v>
                </c:pt>
                <c:pt idx="483">
                  <c:v>876</c:v>
                </c:pt>
                <c:pt idx="484">
                  <c:v>876</c:v>
                </c:pt>
                <c:pt idx="485">
                  <c:v>876</c:v>
                </c:pt>
                <c:pt idx="486">
                  <c:v>877</c:v>
                </c:pt>
                <c:pt idx="487">
                  <c:v>877</c:v>
                </c:pt>
                <c:pt idx="488">
                  <c:v>878</c:v>
                </c:pt>
                <c:pt idx="489">
                  <c:v>878</c:v>
                </c:pt>
                <c:pt idx="490">
                  <c:v>878</c:v>
                </c:pt>
                <c:pt idx="491">
                  <c:v>879</c:v>
                </c:pt>
                <c:pt idx="492">
                  <c:v>879</c:v>
                </c:pt>
                <c:pt idx="493">
                  <c:v>879</c:v>
                </c:pt>
                <c:pt idx="494">
                  <c:v>879</c:v>
                </c:pt>
                <c:pt idx="495">
                  <c:v>879</c:v>
                </c:pt>
                <c:pt idx="496">
                  <c:v>879</c:v>
                </c:pt>
                <c:pt idx="497">
                  <c:v>880</c:v>
                </c:pt>
                <c:pt idx="498">
                  <c:v>880</c:v>
                </c:pt>
                <c:pt idx="499">
                  <c:v>880</c:v>
                </c:pt>
                <c:pt idx="500">
                  <c:v>880</c:v>
                </c:pt>
                <c:pt idx="501">
                  <c:v>880</c:v>
                </c:pt>
                <c:pt idx="502">
                  <c:v>881</c:v>
                </c:pt>
                <c:pt idx="503">
                  <c:v>882</c:v>
                </c:pt>
                <c:pt idx="504">
                  <c:v>923</c:v>
                </c:pt>
                <c:pt idx="505">
                  <c:v>926</c:v>
                </c:pt>
                <c:pt idx="506">
                  <c:v>928</c:v>
                </c:pt>
                <c:pt idx="507">
                  <c:v>930</c:v>
                </c:pt>
                <c:pt idx="508">
                  <c:v>932</c:v>
                </c:pt>
                <c:pt idx="509">
                  <c:v>933</c:v>
                </c:pt>
                <c:pt idx="510">
                  <c:v>934</c:v>
                </c:pt>
                <c:pt idx="511">
                  <c:v>934</c:v>
                </c:pt>
                <c:pt idx="512">
                  <c:v>934</c:v>
                </c:pt>
                <c:pt idx="513">
                  <c:v>935</c:v>
                </c:pt>
                <c:pt idx="514">
                  <c:v>935</c:v>
                </c:pt>
                <c:pt idx="515">
                  <c:v>935</c:v>
                </c:pt>
                <c:pt idx="516">
                  <c:v>935</c:v>
                </c:pt>
                <c:pt idx="517">
                  <c:v>936</c:v>
                </c:pt>
                <c:pt idx="518">
                  <c:v>936</c:v>
                </c:pt>
                <c:pt idx="519">
                  <c:v>936</c:v>
                </c:pt>
                <c:pt idx="520">
                  <c:v>936</c:v>
                </c:pt>
                <c:pt idx="521">
                  <c:v>936</c:v>
                </c:pt>
                <c:pt idx="522">
                  <c:v>937</c:v>
                </c:pt>
                <c:pt idx="523">
                  <c:v>937</c:v>
                </c:pt>
                <c:pt idx="524">
                  <c:v>938</c:v>
                </c:pt>
                <c:pt idx="525">
                  <c:v>939</c:v>
                </c:pt>
                <c:pt idx="526">
                  <c:v>942</c:v>
                </c:pt>
                <c:pt idx="527">
                  <c:v>944</c:v>
                </c:pt>
                <c:pt idx="528">
                  <c:v>945</c:v>
                </c:pt>
                <c:pt idx="529">
                  <c:v>947</c:v>
                </c:pt>
                <c:pt idx="530">
                  <c:v>949</c:v>
                </c:pt>
                <c:pt idx="531">
                  <c:v>952</c:v>
                </c:pt>
                <c:pt idx="532">
                  <c:v>953</c:v>
                </c:pt>
                <c:pt idx="533">
                  <c:v>954</c:v>
                </c:pt>
                <c:pt idx="534">
                  <c:v>955</c:v>
                </c:pt>
                <c:pt idx="535">
                  <c:v>955</c:v>
                </c:pt>
                <c:pt idx="536">
                  <c:v>956</c:v>
                </c:pt>
                <c:pt idx="537">
                  <c:v>956</c:v>
                </c:pt>
                <c:pt idx="538">
                  <c:v>957</c:v>
                </c:pt>
                <c:pt idx="539">
                  <c:v>957</c:v>
                </c:pt>
                <c:pt idx="540">
                  <c:v>957</c:v>
                </c:pt>
                <c:pt idx="541">
                  <c:v>957</c:v>
                </c:pt>
                <c:pt idx="542">
                  <c:v>958</c:v>
                </c:pt>
                <c:pt idx="543">
                  <c:v>958</c:v>
                </c:pt>
                <c:pt idx="544">
                  <c:v>959</c:v>
                </c:pt>
                <c:pt idx="545">
                  <c:v>959</c:v>
                </c:pt>
                <c:pt idx="546">
                  <c:v>960</c:v>
                </c:pt>
                <c:pt idx="547">
                  <c:v>960</c:v>
                </c:pt>
                <c:pt idx="548">
                  <c:v>960</c:v>
                </c:pt>
                <c:pt idx="549">
                  <c:v>960</c:v>
                </c:pt>
                <c:pt idx="550">
                  <c:v>961</c:v>
                </c:pt>
                <c:pt idx="551">
                  <c:v>961</c:v>
                </c:pt>
                <c:pt idx="552">
                  <c:v>960</c:v>
                </c:pt>
                <c:pt idx="553">
                  <c:v>961</c:v>
                </c:pt>
                <c:pt idx="554">
                  <c:v>961</c:v>
                </c:pt>
                <c:pt idx="555">
                  <c:v>961</c:v>
                </c:pt>
                <c:pt idx="556">
                  <c:v>960</c:v>
                </c:pt>
                <c:pt idx="557">
                  <c:v>961</c:v>
                </c:pt>
                <c:pt idx="558">
                  <c:v>961</c:v>
                </c:pt>
                <c:pt idx="559">
                  <c:v>961</c:v>
                </c:pt>
                <c:pt idx="560">
                  <c:v>962</c:v>
                </c:pt>
                <c:pt idx="561">
                  <c:v>963</c:v>
                </c:pt>
                <c:pt idx="562">
                  <c:v>963</c:v>
                </c:pt>
                <c:pt idx="563">
                  <c:v>964</c:v>
                </c:pt>
                <c:pt idx="564">
                  <c:v>965</c:v>
                </c:pt>
                <c:pt idx="565">
                  <c:v>965</c:v>
                </c:pt>
                <c:pt idx="566">
                  <c:v>966</c:v>
                </c:pt>
                <c:pt idx="567">
                  <c:v>966</c:v>
                </c:pt>
                <c:pt idx="568">
                  <c:v>967</c:v>
                </c:pt>
                <c:pt idx="569">
                  <c:v>967</c:v>
                </c:pt>
                <c:pt idx="570">
                  <c:v>968</c:v>
                </c:pt>
                <c:pt idx="571">
                  <c:v>968</c:v>
                </c:pt>
                <c:pt idx="572">
                  <c:v>969</c:v>
                </c:pt>
                <c:pt idx="573">
                  <c:v>969</c:v>
                </c:pt>
                <c:pt idx="574">
                  <c:v>970</c:v>
                </c:pt>
                <c:pt idx="575">
                  <c:v>972</c:v>
                </c:pt>
                <c:pt idx="576">
                  <c:v>973</c:v>
                </c:pt>
                <c:pt idx="577">
                  <c:v>975</c:v>
                </c:pt>
                <c:pt idx="578">
                  <c:v>977</c:v>
                </c:pt>
                <c:pt idx="579">
                  <c:v>980</c:v>
                </c:pt>
                <c:pt idx="580">
                  <c:v>982</c:v>
                </c:pt>
                <c:pt idx="581">
                  <c:v>983</c:v>
                </c:pt>
                <c:pt idx="582">
                  <c:v>983</c:v>
                </c:pt>
                <c:pt idx="583">
                  <c:v>984</c:v>
                </c:pt>
                <c:pt idx="584">
                  <c:v>984</c:v>
                </c:pt>
                <c:pt idx="585">
                  <c:v>985</c:v>
                </c:pt>
                <c:pt idx="586">
                  <c:v>985</c:v>
                </c:pt>
                <c:pt idx="587">
                  <c:v>985</c:v>
                </c:pt>
                <c:pt idx="588">
                  <c:v>986</c:v>
                </c:pt>
                <c:pt idx="589">
                  <c:v>986</c:v>
                </c:pt>
                <c:pt idx="590">
                  <c:v>987</c:v>
                </c:pt>
                <c:pt idx="591">
                  <c:v>987</c:v>
                </c:pt>
                <c:pt idx="592">
                  <c:v>987</c:v>
                </c:pt>
                <c:pt idx="593">
                  <c:v>988</c:v>
                </c:pt>
                <c:pt idx="594">
                  <c:v>988</c:v>
                </c:pt>
                <c:pt idx="595">
                  <c:v>988</c:v>
                </c:pt>
                <c:pt idx="596">
                  <c:v>989</c:v>
                </c:pt>
                <c:pt idx="597">
                  <c:v>989</c:v>
                </c:pt>
                <c:pt idx="598">
                  <c:v>990</c:v>
                </c:pt>
                <c:pt idx="599">
                  <c:v>992</c:v>
                </c:pt>
                <c:pt idx="600">
                  <c:v>992</c:v>
                </c:pt>
                <c:pt idx="601">
                  <c:v>993</c:v>
                </c:pt>
                <c:pt idx="602">
                  <c:v>995</c:v>
                </c:pt>
                <c:pt idx="603">
                  <c:v>996</c:v>
                </c:pt>
                <c:pt idx="604">
                  <c:v>998</c:v>
                </c:pt>
                <c:pt idx="605">
                  <c:v>998</c:v>
                </c:pt>
                <c:pt idx="606">
                  <c:v>999</c:v>
                </c:pt>
                <c:pt idx="607">
                  <c:v>1000</c:v>
                </c:pt>
                <c:pt idx="608">
                  <c:v>1001</c:v>
                </c:pt>
                <c:pt idx="609">
                  <c:v>1002</c:v>
                </c:pt>
                <c:pt idx="610">
                  <c:v>1002</c:v>
                </c:pt>
                <c:pt idx="611">
                  <c:v>1003</c:v>
                </c:pt>
                <c:pt idx="612">
                  <c:v>1003</c:v>
                </c:pt>
                <c:pt idx="613">
                  <c:v>1004</c:v>
                </c:pt>
                <c:pt idx="614">
                  <c:v>1005</c:v>
                </c:pt>
                <c:pt idx="615">
                  <c:v>1005</c:v>
                </c:pt>
                <c:pt idx="616">
                  <c:v>1006</c:v>
                </c:pt>
                <c:pt idx="617">
                  <c:v>1006</c:v>
                </c:pt>
                <c:pt idx="618">
                  <c:v>1007</c:v>
                </c:pt>
                <c:pt idx="619">
                  <c:v>1008</c:v>
                </c:pt>
                <c:pt idx="620">
                  <c:v>1009</c:v>
                </c:pt>
                <c:pt idx="621">
                  <c:v>1009</c:v>
                </c:pt>
                <c:pt idx="622">
                  <c:v>1011</c:v>
                </c:pt>
                <c:pt idx="623">
                  <c:v>1012</c:v>
                </c:pt>
                <c:pt idx="624">
                  <c:v>1013</c:v>
                </c:pt>
                <c:pt idx="625">
                  <c:v>1014</c:v>
                </c:pt>
                <c:pt idx="626">
                  <c:v>1015</c:v>
                </c:pt>
                <c:pt idx="627">
                  <c:v>1017</c:v>
                </c:pt>
                <c:pt idx="628">
                  <c:v>1018</c:v>
                </c:pt>
                <c:pt idx="629">
                  <c:v>1019</c:v>
                </c:pt>
                <c:pt idx="630">
                  <c:v>1019</c:v>
                </c:pt>
                <c:pt idx="631">
                  <c:v>1020</c:v>
                </c:pt>
                <c:pt idx="632">
                  <c:v>1021</c:v>
                </c:pt>
                <c:pt idx="633">
                  <c:v>1022</c:v>
                </c:pt>
                <c:pt idx="634">
                  <c:v>1022</c:v>
                </c:pt>
                <c:pt idx="635">
                  <c:v>1022</c:v>
                </c:pt>
                <c:pt idx="636">
                  <c:v>1023</c:v>
                </c:pt>
                <c:pt idx="637">
                  <c:v>1024</c:v>
                </c:pt>
                <c:pt idx="638">
                  <c:v>1024</c:v>
                </c:pt>
                <c:pt idx="639">
                  <c:v>1024</c:v>
                </c:pt>
                <c:pt idx="640">
                  <c:v>1025</c:v>
                </c:pt>
                <c:pt idx="641">
                  <c:v>1025</c:v>
                </c:pt>
                <c:pt idx="642">
                  <c:v>1026</c:v>
                </c:pt>
                <c:pt idx="643">
                  <c:v>1026</c:v>
                </c:pt>
                <c:pt idx="644">
                  <c:v>1027</c:v>
                </c:pt>
                <c:pt idx="645">
                  <c:v>1028</c:v>
                </c:pt>
                <c:pt idx="646">
                  <c:v>1029</c:v>
                </c:pt>
                <c:pt idx="647">
                  <c:v>1030</c:v>
                </c:pt>
                <c:pt idx="648">
                  <c:v>1032</c:v>
                </c:pt>
                <c:pt idx="649">
                  <c:v>1033</c:v>
                </c:pt>
                <c:pt idx="650">
                  <c:v>1035</c:v>
                </c:pt>
                <c:pt idx="651">
                  <c:v>1037</c:v>
                </c:pt>
                <c:pt idx="652">
                  <c:v>1038</c:v>
                </c:pt>
                <c:pt idx="653">
                  <c:v>1039</c:v>
                </c:pt>
                <c:pt idx="654">
                  <c:v>1039</c:v>
                </c:pt>
                <c:pt idx="655">
                  <c:v>1040</c:v>
                </c:pt>
                <c:pt idx="656">
                  <c:v>1040</c:v>
                </c:pt>
                <c:pt idx="657">
                  <c:v>1040</c:v>
                </c:pt>
                <c:pt idx="658">
                  <c:v>1041</c:v>
                </c:pt>
                <c:pt idx="659">
                  <c:v>1041</c:v>
                </c:pt>
                <c:pt idx="660">
                  <c:v>1042</c:v>
                </c:pt>
                <c:pt idx="661">
                  <c:v>1042</c:v>
                </c:pt>
                <c:pt idx="662">
                  <c:v>1042</c:v>
                </c:pt>
                <c:pt idx="663">
                  <c:v>1043</c:v>
                </c:pt>
                <c:pt idx="664">
                  <c:v>1043</c:v>
                </c:pt>
                <c:pt idx="665">
                  <c:v>1044</c:v>
                </c:pt>
                <c:pt idx="666">
                  <c:v>1044</c:v>
                </c:pt>
                <c:pt idx="667">
                  <c:v>1044</c:v>
                </c:pt>
                <c:pt idx="668">
                  <c:v>104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D509-074A-863F-CF82D1016723}"/>
            </c:ext>
          </c:extLst>
        </c:ser>
        <c:ser>
          <c:idx val="0"/>
          <c:order val="1"/>
          <c:tx>
            <c:v>20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'7 Gärrest ungerührt'!$D$20:$D$688</c:f>
              <c:numCache>
                <c:formatCode>0</c:formatCode>
                <c:ptCount val="669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  <c:pt idx="668">
                  <c:v>27.833333333333332</c:v>
                </c:pt>
              </c:numCache>
            </c:numRef>
          </c:xVal>
          <c:yVal>
            <c:numRef>
              <c:f>'20 Gärrest ungerührt'!$E$20:$E$688</c:f>
              <c:numCache>
                <c:formatCode>General</c:formatCode>
                <c:ptCount val="669"/>
                <c:pt idx="0">
                  <c:v>0</c:v>
                </c:pt>
                <c:pt idx="1">
                  <c:v>54</c:v>
                </c:pt>
                <c:pt idx="2">
                  <c:v>75</c:v>
                </c:pt>
                <c:pt idx="3">
                  <c:v>92</c:v>
                </c:pt>
                <c:pt idx="4">
                  <c:v>105</c:v>
                </c:pt>
                <c:pt idx="5">
                  <c:v>117</c:v>
                </c:pt>
                <c:pt idx="6">
                  <c:v>125</c:v>
                </c:pt>
                <c:pt idx="7">
                  <c:v>133</c:v>
                </c:pt>
                <c:pt idx="8">
                  <c:v>139</c:v>
                </c:pt>
                <c:pt idx="9">
                  <c:v>147</c:v>
                </c:pt>
                <c:pt idx="10">
                  <c:v>153</c:v>
                </c:pt>
                <c:pt idx="11">
                  <c:v>158</c:v>
                </c:pt>
                <c:pt idx="12">
                  <c:v>162</c:v>
                </c:pt>
                <c:pt idx="13">
                  <c:v>165</c:v>
                </c:pt>
                <c:pt idx="14">
                  <c:v>168</c:v>
                </c:pt>
                <c:pt idx="15">
                  <c:v>172</c:v>
                </c:pt>
                <c:pt idx="16">
                  <c:v>175</c:v>
                </c:pt>
                <c:pt idx="17">
                  <c:v>178</c:v>
                </c:pt>
                <c:pt idx="18">
                  <c:v>181</c:v>
                </c:pt>
                <c:pt idx="19">
                  <c:v>182</c:v>
                </c:pt>
                <c:pt idx="20">
                  <c:v>189</c:v>
                </c:pt>
                <c:pt idx="21">
                  <c:v>195</c:v>
                </c:pt>
                <c:pt idx="22">
                  <c:v>198</c:v>
                </c:pt>
                <c:pt idx="23">
                  <c:v>200</c:v>
                </c:pt>
                <c:pt idx="24">
                  <c:v>205</c:v>
                </c:pt>
                <c:pt idx="25">
                  <c:v>210</c:v>
                </c:pt>
                <c:pt idx="26">
                  <c:v>215</c:v>
                </c:pt>
                <c:pt idx="27">
                  <c:v>248</c:v>
                </c:pt>
                <c:pt idx="28">
                  <c:v>255</c:v>
                </c:pt>
                <c:pt idx="29">
                  <c:v>260</c:v>
                </c:pt>
                <c:pt idx="30">
                  <c:v>265</c:v>
                </c:pt>
                <c:pt idx="31">
                  <c:v>268</c:v>
                </c:pt>
                <c:pt idx="32">
                  <c:v>272</c:v>
                </c:pt>
                <c:pt idx="33">
                  <c:v>275</c:v>
                </c:pt>
                <c:pt idx="34">
                  <c:v>277</c:v>
                </c:pt>
                <c:pt idx="35">
                  <c:v>280</c:v>
                </c:pt>
                <c:pt idx="36">
                  <c:v>282</c:v>
                </c:pt>
                <c:pt idx="37">
                  <c:v>285</c:v>
                </c:pt>
                <c:pt idx="38">
                  <c:v>287</c:v>
                </c:pt>
                <c:pt idx="39">
                  <c:v>289</c:v>
                </c:pt>
                <c:pt idx="40">
                  <c:v>292</c:v>
                </c:pt>
                <c:pt idx="41">
                  <c:v>293</c:v>
                </c:pt>
                <c:pt idx="42">
                  <c:v>296</c:v>
                </c:pt>
                <c:pt idx="43">
                  <c:v>298</c:v>
                </c:pt>
                <c:pt idx="44">
                  <c:v>301</c:v>
                </c:pt>
                <c:pt idx="45">
                  <c:v>304</c:v>
                </c:pt>
                <c:pt idx="46">
                  <c:v>307</c:v>
                </c:pt>
                <c:pt idx="47">
                  <c:v>311</c:v>
                </c:pt>
                <c:pt idx="48">
                  <c:v>316</c:v>
                </c:pt>
                <c:pt idx="49">
                  <c:v>323</c:v>
                </c:pt>
                <c:pt idx="50">
                  <c:v>329</c:v>
                </c:pt>
                <c:pt idx="51">
                  <c:v>334</c:v>
                </c:pt>
                <c:pt idx="52">
                  <c:v>336</c:v>
                </c:pt>
                <c:pt idx="53">
                  <c:v>338</c:v>
                </c:pt>
                <c:pt idx="54">
                  <c:v>338</c:v>
                </c:pt>
                <c:pt idx="55">
                  <c:v>340</c:v>
                </c:pt>
                <c:pt idx="56">
                  <c:v>341</c:v>
                </c:pt>
                <c:pt idx="57">
                  <c:v>342</c:v>
                </c:pt>
                <c:pt idx="58">
                  <c:v>343</c:v>
                </c:pt>
                <c:pt idx="59">
                  <c:v>344</c:v>
                </c:pt>
                <c:pt idx="60">
                  <c:v>345</c:v>
                </c:pt>
                <c:pt idx="61">
                  <c:v>347</c:v>
                </c:pt>
                <c:pt idx="62">
                  <c:v>348</c:v>
                </c:pt>
                <c:pt idx="63">
                  <c:v>349</c:v>
                </c:pt>
                <c:pt idx="64">
                  <c:v>350</c:v>
                </c:pt>
                <c:pt idx="65">
                  <c:v>352</c:v>
                </c:pt>
                <c:pt idx="66">
                  <c:v>353</c:v>
                </c:pt>
                <c:pt idx="67">
                  <c:v>352</c:v>
                </c:pt>
                <c:pt idx="68">
                  <c:v>353</c:v>
                </c:pt>
                <c:pt idx="69">
                  <c:v>354</c:v>
                </c:pt>
                <c:pt idx="70">
                  <c:v>355</c:v>
                </c:pt>
                <c:pt idx="71">
                  <c:v>356</c:v>
                </c:pt>
                <c:pt idx="72">
                  <c:v>358</c:v>
                </c:pt>
                <c:pt idx="73">
                  <c:v>368</c:v>
                </c:pt>
                <c:pt idx="74">
                  <c:v>374</c:v>
                </c:pt>
                <c:pt idx="75">
                  <c:v>377</c:v>
                </c:pt>
                <c:pt idx="76">
                  <c:v>380</c:v>
                </c:pt>
                <c:pt idx="77">
                  <c:v>383</c:v>
                </c:pt>
                <c:pt idx="78">
                  <c:v>385</c:v>
                </c:pt>
                <c:pt idx="79">
                  <c:v>386</c:v>
                </c:pt>
                <c:pt idx="80">
                  <c:v>388</c:v>
                </c:pt>
                <c:pt idx="81">
                  <c:v>389</c:v>
                </c:pt>
                <c:pt idx="82">
                  <c:v>390</c:v>
                </c:pt>
                <c:pt idx="83">
                  <c:v>391</c:v>
                </c:pt>
                <c:pt idx="84">
                  <c:v>392</c:v>
                </c:pt>
                <c:pt idx="85">
                  <c:v>393</c:v>
                </c:pt>
                <c:pt idx="86">
                  <c:v>394</c:v>
                </c:pt>
                <c:pt idx="87">
                  <c:v>395</c:v>
                </c:pt>
                <c:pt idx="88">
                  <c:v>396</c:v>
                </c:pt>
                <c:pt idx="89">
                  <c:v>397</c:v>
                </c:pt>
                <c:pt idx="90">
                  <c:v>398</c:v>
                </c:pt>
                <c:pt idx="91">
                  <c:v>400</c:v>
                </c:pt>
                <c:pt idx="92">
                  <c:v>401</c:v>
                </c:pt>
                <c:pt idx="93">
                  <c:v>403</c:v>
                </c:pt>
                <c:pt idx="94">
                  <c:v>406</c:v>
                </c:pt>
                <c:pt idx="95">
                  <c:v>410</c:v>
                </c:pt>
                <c:pt idx="96">
                  <c:v>412</c:v>
                </c:pt>
                <c:pt idx="97">
                  <c:v>414</c:v>
                </c:pt>
                <c:pt idx="98">
                  <c:v>416</c:v>
                </c:pt>
                <c:pt idx="99">
                  <c:v>418</c:v>
                </c:pt>
                <c:pt idx="100">
                  <c:v>420</c:v>
                </c:pt>
                <c:pt idx="101">
                  <c:v>423</c:v>
                </c:pt>
                <c:pt idx="102">
                  <c:v>425</c:v>
                </c:pt>
                <c:pt idx="103">
                  <c:v>426</c:v>
                </c:pt>
                <c:pt idx="104">
                  <c:v>428</c:v>
                </c:pt>
                <c:pt idx="105">
                  <c:v>430</c:v>
                </c:pt>
                <c:pt idx="106">
                  <c:v>430</c:v>
                </c:pt>
                <c:pt idx="107">
                  <c:v>432</c:v>
                </c:pt>
                <c:pt idx="108">
                  <c:v>433</c:v>
                </c:pt>
                <c:pt idx="109">
                  <c:v>434</c:v>
                </c:pt>
                <c:pt idx="110">
                  <c:v>435</c:v>
                </c:pt>
                <c:pt idx="111">
                  <c:v>436</c:v>
                </c:pt>
                <c:pt idx="112">
                  <c:v>436</c:v>
                </c:pt>
                <c:pt idx="113">
                  <c:v>437</c:v>
                </c:pt>
                <c:pt idx="114">
                  <c:v>438</c:v>
                </c:pt>
                <c:pt idx="115">
                  <c:v>439</c:v>
                </c:pt>
                <c:pt idx="116">
                  <c:v>440</c:v>
                </c:pt>
                <c:pt idx="117">
                  <c:v>442</c:v>
                </c:pt>
                <c:pt idx="118">
                  <c:v>443</c:v>
                </c:pt>
                <c:pt idx="119">
                  <c:v>445</c:v>
                </c:pt>
                <c:pt idx="120">
                  <c:v>447</c:v>
                </c:pt>
                <c:pt idx="121">
                  <c:v>449</c:v>
                </c:pt>
                <c:pt idx="122">
                  <c:v>452</c:v>
                </c:pt>
                <c:pt idx="123">
                  <c:v>454</c:v>
                </c:pt>
                <c:pt idx="124">
                  <c:v>456</c:v>
                </c:pt>
                <c:pt idx="125">
                  <c:v>458</c:v>
                </c:pt>
                <c:pt idx="126">
                  <c:v>459</c:v>
                </c:pt>
                <c:pt idx="127">
                  <c:v>460</c:v>
                </c:pt>
                <c:pt idx="128">
                  <c:v>461</c:v>
                </c:pt>
                <c:pt idx="129">
                  <c:v>461</c:v>
                </c:pt>
                <c:pt idx="130">
                  <c:v>462</c:v>
                </c:pt>
                <c:pt idx="131">
                  <c:v>463</c:v>
                </c:pt>
                <c:pt idx="132">
                  <c:v>463</c:v>
                </c:pt>
                <c:pt idx="133">
                  <c:v>464</c:v>
                </c:pt>
                <c:pt idx="134">
                  <c:v>464</c:v>
                </c:pt>
                <c:pt idx="135">
                  <c:v>465</c:v>
                </c:pt>
                <c:pt idx="136">
                  <c:v>466</c:v>
                </c:pt>
                <c:pt idx="137">
                  <c:v>466</c:v>
                </c:pt>
                <c:pt idx="138">
                  <c:v>467</c:v>
                </c:pt>
                <c:pt idx="139">
                  <c:v>468</c:v>
                </c:pt>
                <c:pt idx="140">
                  <c:v>469</c:v>
                </c:pt>
                <c:pt idx="141">
                  <c:v>471</c:v>
                </c:pt>
                <c:pt idx="142">
                  <c:v>473</c:v>
                </c:pt>
                <c:pt idx="143">
                  <c:v>474</c:v>
                </c:pt>
                <c:pt idx="144">
                  <c:v>477</c:v>
                </c:pt>
                <c:pt idx="145">
                  <c:v>481</c:v>
                </c:pt>
                <c:pt idx="146">
                  <c:v>484</c:v>
                </c:pt>
                <c:pt idx="147">
                  <c:v>486</c:v>
                </c:pt>
                <c:pt idx="148">
                  <c:v>489</c:v>
                </c:pt>
                <c:pt idx="149">
                  <c:v>491</c:v>
                </c:pt>
                <c:pt idx="150">
                  <c:v>493</c:v>
                </c:pt>
                <c:pt idx="151">
                  <c:v>495</c:v>
                </c:pt>
                <c:pt idx="152">
                  <c:v>496</c:v>
                </c:pt>
                <c:pt idx="153">
                  <c:v>498</c:v>
                </c:pt>
                <c:pt idx="154">
                  <c:v>499</c:v>
                </c:pt>
                <c:pt idx="155">
                  <c:v>499</c:v>
                </c:pt>
                <c:pt idx="156">
                  <c:v>501</c:v>
                </c:pt>
                <c:pt idx="157">
                  <c:v>502</c:v>
                </c:pt>
                <c:pt idx="158">
                  <c:v>503</c:v>
                </c:pt>
                <c:pt idx="159">
                  <c:v>504</c:v>
                </c:pt>
                <c:pt idx="160">
                  <c:v>505</c:v>
                </c:pt>
                <c:pt idx="161">
                  <c:v>507</c:v>
                </c:pt>
                <c:pt idx="162">
                  <c:v>508</c:v>
                </c:pt>
                <c:pt idx="163">
                  <c:v>509</c:v>
                </c:pt>
                <c:pt idx="164">
                  <c:v>511</c:v>
                </c:pt>
                <c:pt idx="165">
                  <c:v>513</c:v>
                </c:pt>
                <c:pt idx="166">
                  <c:v>514</c:v>
                </c:pt>
                <c:pt idx="167">
                  <c:v>516</c:v>
                </c:pt>
                <c:pt idx="168">
                  <c:v>518</c:v>
                </c:pt>
                <c:pt idx="169">
                  <c:v>542</c:v>
                </c:pt>
                <c:pt idx="170">
                  <c:v>547</c:v>
                </c:pt>
                <c:pt idx="171">
                  <c:v>552</c:v>
                </c:pt>
                <c:pt idx="172">
                  <c:v>555</c:v>
                </c:pt>
                <c:pt idx="173">
                  <c:v>558</c:v>
                </c:pt>
                <c:pt idx="174">
                  <c:v>560</c:v>
                </c:pt>
                <c:pt idx="175">
                  <c:v>562</c:v>
                </c:pt>
                <c:pt idx="176">
                  <c:v>565</c:v>
                </c:pt>
                <c:pt idx="177">
                  <c:v>567</c:v>
                </c:pt>
                <c:pt idx="178">
                  <c:v>568</c:v>
                </c:pt>
                <c:pt idx="179">
                  <c:v>570</c:v>
                </c:pt>
                <c:pt idx="180">
                  <c:v>572</c:v>
                </c:pt>
                <c:pt idx="181">
                  <c:v>573</c:v>
                </c:pt>
                <c:pt idx="182">
                  <c:v>574</c:v>
                </c:pt>
                <c:pt idx="183">
                  <c:v>576</c:v>
                </c:pt>
                <c:pt idx="184">
                  <c:v>577</c:v>
                </c:pt>
                <c:pt idx="185">
                  <c:v>578</c:v>
                </c:pt>
                <c:pt idx="186">
                  <c:v>579</c:v>
                </c:pt>
                <c:pt idx="187">
                  <c:v>580</c:v>
                </c:pt>
                <c:pt idx="188">
                  <c:v>581</c:v>
                </c:pt>
                <c:pt idx="189">
                  <c:v>582</c:v>
                </c:pt>
                <c:pt idx="190">
                  <c:v>584</c:v>
                </c:pt>
                <c:pt idx="191">
                  <c:v>586</c:v>
                </c:pt>
                <c:pt idx="192">
                  <c:v>588</c:v>
                </c:pt>
                <c:pt idx="193">
                  <c:v>590</c:v>
                </c:pt>
                <c:pt idx="194">
                  <c:v>593</c:v>
                </c:pt>
                <c:pt idx="195">
                  <c:v>595</c:v>
                </c:pt>
                <c:pt idx="196">
                  <c:v>597</c:v>
                </c:pt>
                <c:pt idx="197">
                  <c:v>599</c:v>
                </c:pt>
                <c:pt idx="198">
                  <c:v>600</c:v>
                </c:pt>
                <c:pt idx="199">
                  <c:v>601</c:v>
                </c:pt>
                <c:pt idx="200">
                  <c:v>602</c:v>
                </c:pt>
                <c:pt idx="201">
                  <c:v>603</c:v>
                </c:pt>
                <c:pt idx="202">
                  <c:v>604</c:v>
                </c:pt>
                <c:pt idx="203">
                  <c:v>604</c:v>
                </c:pt>
                <c:pt idx="204">
                  <c:v>605</c:v>
                </c:pt>
                <c:pt idx="205">
                  <c:v>606</c:v>
                </c:pt>
                <c:pt idx="206">
                  <c:v>607</c:v>
                </c:pt>
                <c:pt idx="207">
                  <c:v>608</c:v>
                </c:pt>
                <c:pt idx="208">
                  <c:v>609</c:v>
                </c:pt>
                <c:pt idx="209">
                  <c:v>609</c:v>
                </c:pt>
                <c:pt idx="210">
                  <c:v>610</c:v>
                </c:pt>
                <c:pt idx="211">
                  <c:v>611</c:v>
                </c:pt>
                <c:pt idx="212">
                  <c:v>612</c:v>
                </c:pt>
                <c:pt idx="213">
                  <c:v>614</c:v>
                </c:pt>
                <c:pt idx="214">
                  <c:v>615</c:v>
                </c:pt>
                <c:pt idx="215">
                  <c:v>616</c:v>
                </c:pt>
                <c:pt idx="216">
                  <c:v>618</c:v>
                </c:pt>
                <c:pt idx="217">
                  <c:v>619</c:v>
                </c:pt>
                <c:pt idx="218">
                  <c:v>621</c:v>
                </c:pt>
                <c:pt idx="219">
                  <c:v>622</c:v>
                </c:pt>
                <c:pt idx="220">
                  <c:v>624</c:v>
                </c:pt>
                <c:pt idx="221">
                  <c:v>626</c:v>
                </c:pt>
                <c:pt idx="222">
                  <c:v>627</c:v>
                </c:pt>
                <c:pt idx="223">
                  <c:v>628</c:v>
                </c:pt>
                <c:pt idx="224">
                  <c:v>629</c:v>
                </c:pt>
                <c:pt idx="225">
                  <c:v>629</c:v>
                </c:pt>
                <c:pt idx="226">
                  <c:v>631</c:v>
                </c:pt>
                <c:pt idx="227">
                  <c:v>631</c:v>
                </c:pt>
                <c:pt idx="228">
                  <c:v>632</c:v>
                </c:pt>
                <c:pt idx="229">
                  <c:v>632</c:v>
                </c:pt>
                <c:pt idx="230">
                  <c:v>633</c:v>
                </c:pt>
                <c:pt idx="231">
                  <c:v>633</c:v>
                </c:pt>
                <c:pt idx="232">
                  <c:v>634</c:v>
                </c:pt>
                <c:pt idx="233">
                  <c:v>635</c:v>
                </c:pt>
                <c:pt idx="234">
                  <c:v>636</c:v>
                </c:pt>
                <c:pt idx="235">
                  <c:v>636</c:v>
                </c:pt>
                <c:pt idx="236">
                  <c:v>637</c:v>
                </c:pt>
                <c:pt idx="237">
                  <c:v>639</c:v>
                </c:pt>
                <c:pt idx="238">
                  <c:v>640</c:v>
                </c:pt>
                <c:pt idx="239">
                  <c:v>642</c:v>
                </c:pt>
                <c:pt idx="240">
                  <c:v>643</c:v>
                </c:pt>
                <c:pt idx="241">
                  <c:v>645</c:v>
                </c:pt>
                <c:pt idx="242">
                  <c:v>648</c:v>
                </c:pt>
                <c:pt idx="243">
                  <c:v>650</c:v>
                </c:pt>
                <c:pt idx="244">
                  <c:v>652</c:v>
                </c:pt>
                <c:pt idx="245">
                  <c:v>653</c:v>
                </c:pt>
                <c:pt idx="246">
                  <c:v>654</c:v>
                </c:pt>
                <c:pt idx="247">
                  <c:v>655</c:v>
                </c:pt>
                <c:pt idx="248">
                  <c:v>656</c:v>
                </c:pt>
                <c:pt idx="249">
                  <c:v>657</c:v>
                </c:pt>
                <c:pt idx="250">
                  <c:v>658</c:v>
                </c:pt>
                <c:pt idx="251">
                  <c:v>658</c:v>
                </c:pt>
                <c:pt idx="252">
                  <c:v>659</c:v>
                </c:pt>
                <c:pt idx="253">
                  <c:v>660</c:v>
                </c:pt>
                <c:pt idx="254">
                  <c:v>661</c:v>
                </c:pt>
                <c:pt idx="255">
                  <c:v>661</c:v>
                </c:pt>
                <c:pt idx="256">
                  <c:v>662</c:v>
                </c:pt>
                <c:pt idx="257">
                  <c:v>662</c:v>
                </c:pt>
                <c:pt idx="258">
                  <c:v>663</c:v>
                </c:pt>
                <c:pt idx="259">
                  <c:v>664</c:v>
                </c:pt>
                <c:pt idx="260">
                  <c:v>665</c:v>
                </c:pt>
                <c:pt idx="261">
                  <c:v>666</c:v>
                </c:pt>
                <c:pt idx="262">
                  <c:v>667</c:v>
                </c:pt>
                <c:pt idx="263">
                  <c:v>677</c:v>
                </c:pt>
                <c:pt idx="264">
                  <c:v>681</c:v>
                </c:pt>
                <c:pt idx="265">
                  <c:v>684</c:v>
                </c:pt>
                <c:pt idx="266">
                  <c:v>687</c:v>
                </c:pt>
                <c:pt idx="267">
                  <c:v>689</c:v>
                </c:pt>
                <c:pt idx="268">
                  <c:v>691</c:v>
                </c:pt>
                <c:pt idx="269">
                  <c:v>692</c:v>
                </c:pt>
                <c:pt idx="270">
                  <c:v>694</c:v>
                </c:pt>
                <c:pt idx="271">
                  <c:v>695</c:v>
                </c:pt>
                <c:pt idx="272">
                  <c:v>695</c:v>
                </c:pt>
                <c:pt idx="273">
                  <c:v>696</c:v>
                </c:pt>
                <c:pt idx="274">
                  <c:v>696</c:v>
                </c:pt>
                <c:pt idx="275">
                  <c:v>697</c:v>
                </c:pt>
                <c:pt idx="276">
                  <c:v>698</c:v>
                </c:pt>
                <c:pt idx="277">
                  <c:v>698</c:v>
                </c:pt>
                <c:pt idx="278">
                  <c:v>699</c:v>
                </c:pt>
                <c:pt idx="279">
                  <c:v>699</c:v>
                </c:pt>
                <c:pt idx="280">
                  <c:v>700</c:v>
                </c:pt>
                <c:pt idx="281">
                  <c:v>701</c:v>
                </c:pt>
                <c:pt idx="282">
                  <c:v>702</c:v>
                </c:pt>
                <c:pt idx="283">
                  <c:v>702</c:v>
                </c:pt>
                <c:pt idx="284">
                  <c:v>703</c:v>
                </c:pt>
                <c:pt idx="285">
                  <c:v>704</c:v>
                </c:pt>
                <c:pt idx="286">
                  <c:v>705</c:v>
                </c:pt>
                <c:pt idx="287">
                  <c:v>707</c:v>
                </c:pt>
                <c:pt idx="288">
                  <c:v>708</c:v>
                </c:pt>
                <c:pt idx="289">
                  <c:v>709</c:v>
                </c:pt>
                <c:pt idx="290">
                  <c:v>710</c:v>
                </c:pt>
                <c:pt idx="291">
                  <c:v>712</c:v>
                </c:pt>
                <c:pt idx="292">
                  <c:v>712</c:v>
                </c:pt>
                <c:pt idx="293">
                  <c:v>713</c:v>
                </c:pt>
                <c:pt idx="294">
                  <c:v>715</c:v>
                </c:pt>
                <c:pt idx="295">
                  <c:v>715</c:v>
                </c:pt>
                <c:pt idx="296">
                  <c:v>716</c:v>
                </c:pt>
                <c:pt idx="297">
                  <c:v>717</c:v>
                </c:pt>
                <c:pt idx="298">
                  <c:v>717</c:v>
                </c:pt>
                <c:pt idx="299">
                  <c:v>718</c:v>
                </c:pt>
                <c:pt idx="300">
                  <c:v>719</c:v>
                </c:pt>
                <c:pt idx="301">
                  <c:v>719</c:v>
                </c:pt>
                <c:pt idx="302">
                  <c:v>720</c:v>
                </c:pt>
                <c:pt idx="303">
                  <c:v>720</c:v>
                </c:pt>
                <c:pt idx="304">
                  <c:v>721</c:v>
                </c:pt>
                <c:pt idx="305">
                  <c:v>721</c:v>
                </c:pt>
                <c:pt idx="306">
                  <c:v>722</c:v>
                </c:pt>
                <c:pt idx="307">
                  <c:v>723</c:v>
                </c:pt>
                <c:pt idx="308">
                  <c:v>724</c:v>
                </c:pt>
                <c:pt idx="309">
                  <c:v>724</c:v>
                </c:pt>
                <c:pt idx="310">
                  <c:v>725</c:v>
                </c:pt>
                <c:pt idx="311">
                  <c:v>726</c:v>
                </c:pt>
                <c:pt idx="312">
                  <c:v>725</c:v>
                </c:pt>
                <c:pt idx="313">
                  <c:v>725</c:v>
                </c:pt>
                <c:pt idx="314">
                  <c:v>726</c:v>
                </c:pt>
                <c:pt idx="315">
                  <c:v>726</c:v>
                </c:pt>
                <c:pt idx="316">
                  <c:v>728</c:v>
                </c:pt>
                <c:pt idx="317">
                  <c:v>728</c:v>
                </c:pt>
                <c:pt idx="318">
                  <c:v>729</c:v>
                </c:pt>
                <c:pt idx="319">
                  <c:v>729</c:v>
                </c:pt>
                <c:pt idx="320">
                  <c:v>729</c:v>
                </c:pt>
                <c:pt idx="321">
                  <c:v>729</c:v>
                </c:pt>
                <c:pt idx="322">
                  <c:v>730</c:v>
                </c:pt>
                <c:pt idx="323">
                  <c:v>730</c:v>
                </c:pt>
                <c:pt idx="324">
                  <c:v>730</c:v>
                </c:pt>
                <c:pt idx="325">
                  <c:v>731</c:v>
                </c:pt>
                <c:pt idx="326">
                  <c:v>731</c:v>
                </c:pt>
                <c:pt idx="327">
                  <c:v>732</c:v>
                </c:pt>
                <c:pt idx="328">
                  <c:v>732</c:v>
                </c:pt>
                <c:pt idx="329">
                  <c:v>732</c:v>
                </c:pt>
                <c:pt idx="330">
                  <c:v>733</c:v>
                </c:pt>
                <c:pt idx="331">
                  <c:v>733</c:v>
                </c:pt>
                <c:pt idx="332">
                  <c:v>734</c:v>
                </c:pt>
                <c:pt idx="333">
                  <c:v>735</c:v>
                </c:pt>
                <c:pt idx="334">
                  <c:v>737</c:v>
                </c:pt>
                <c:pt idx="335">
                  <c:v>738</c:v>
                </c:pt>
                <c:pt idx="336">
                  <c:v>738</c:v>
                </c:pt>
                <c:pt idx="337">
                  <c:v>736</c:v>
                </c:pt>
                <c:pt idx="338">
                  <c:v>736</c:v>
                </c:pt>
                <c:pt idx="339">
                  <c:v>737</c:v>
                </c:pt>
                <c:pt idx="340">
                  <c:v>739</c:v>
                </c:pt>
                <c:pt idx="341">
                  <c:v>741</c:v>
                </c:pt>
                <c:pt idx="342">
                  <c:v>743</c:v>
                </c:pt>
                <c:pt idx="343">
                  <c:v>744</c:v>
                </c:pt>
                <c:pt idx="344">
                  <c:v>746</c:v>
                </c:pt>
                <c:pt idx="345">
                  <c:v>747</c:v>
                </c:pt>
                <c:pt idx="346">
                  <c:v>747</c:v>
                </c:pt>
                <c:pt idx="347">
                  <c:v>748</c:v>
                </c:pt>
                <c:pt idx="348">
                  <c:v>748</c:v>
                </c:pt>
                <c:pt idx="349">
                  <c:v>748</c:v>
                </c:pt>
                <c:pt idx="350">
                  <c:v>748</c:v>
                </c:pt>
                <c:pt idx="351">
                  <c:v>749</c:v>
                </c:pt>
                <c:pt idx="352">
                  <c:v>749</c:v>
                </c:pt>
                <c:pt idx="353">
                  <c:v>749</c:v>
                </c:pt>
                <c:pt idx="354">
                  <c:v>749</c:v>
                </c:pt>
                <c:pt idx="355">
                  <c:v>749</c:v>
                </c:pt>
                <c:pt idx="356">
                  <c:v>749</c:v>
                </c:pt>
                <c:pt idx="357">
                  <c:v>749</c:v>
                </c:pt>
                <c:pt idx="358">
                  <c:v>749</c:v>
                </c:pt>
                <c:pt idx="359">
                  <c:v>767</c:v>
                </c:pt>
                <c:pt idx="360">
                  <c:v>771</c:v>
                </c:pt>
                <c:pt idx="361">
                  <c:v>776</c:v>
                </c:pt>
                <c:pt idx="362">
                  <c:v>779</c:v>
                </c:pt>
                <c:pt idx="363">
                  <c:v>782</c:v>
                </c:pt>
                <c:pt idx="364">
                  <c:v>785</c:v>
                </c:pt>
                <c:pt idx="365">
                  <c:v>787</c:v>
                </c:pt>
                <c:pt idx="366">
                  <c:v>790</c:v>
                </c:pt>
                <c:pt idx="367">
                  <c:v>792</c:v>
                </c:pt>
                <c:pt idx="368">
                  <c:v>793</c:v>
                </c:pt>
                <c:pt idx="369">
                  <c:v>794</c:v>
                </c:pt>
                <c:pt idx="370">
                  <c:v>795</c:v>
                </c:pt>
                <c:pt idx="371">
                  <c:v>797</c:v>
                </c:pt>
                <c:pt idx="372">
                  <c:v>797</c:v>
                </c:pt>
                <c:pt idx="373">
                  <c:v>798</c:v>
                </c:pt>
                <c:pt idx="374">
                  <c:v>798</c:v>
                </c:pt>
                <c:pt idx="375">
                  <c:v>799</c:v>
                </c:pt>
                <c:pt idx="376">
                  <c:v>800</c:v>
                </c:pt>
                <c:pt idx="377">
                  <c:v>800</c:v>
                </c:pt>
                <c:pt idx="378">
                  <c:v>801</c:v>
                </c:pt>
                <c:pt idx="379">
                  <c:v>801</c:v>
                </c:pt>
                <c:pt idx="380">
                  <c:v>802</c:v>
                </c:pt>
                <c:pt idx="381">
                  <c:v>803</c:v>
                </c:pt>
                <c:pt idx="382">
                  <c:v>804</c:v>
                </c:pt>
                <c:pt idx="383">
                  <c:v>804</c:v>
                </c:pt>
                <c:pt idx="384">
                  <c:v>807</c:v>
                </c:pt>
                <c:pt idx="385">
                  <c:v>809</c:v>
                </c:pt>
                <c:pt idx="386">
                  <c:v>812</c:v>
                </c:pt>
                <c:pt idx="387">
                  <c:v>813</c:v>
                </c:pt>
                <c:pt idx="388">
                  <c:v>815</c:v>
                </c:pt>
                <c:pt idx="389">
                  <c:v>816</c:v>
                </c:pt>
                <c:pt idx="390">
                  <c:v>817</c:v>
                </c:pt>
                <c:pt idx="391">
                  <c:v>817</c:v>
                </c:pt>
                <c:pt idx="392">
                  <c:v>817</c:v>
                </c:pt>
                <c:pt idx="393">
                  <c:v>817</c:v>
                </c:pt>
                <c:pt idx="394">
                  <c:v>817</c:v>
                </c:pt>
                <c:pt idx="395">
                  <c:v>818</c:v>
                </c:pt>
                <c:pt idx="396">
                  <c:v>818</c:v>
                </c:pt>
                <c:pt idx="397">
                  <c:v>818</c:v>
                </c:pt>
                <c:pt idx="398">
                  <c:v>818</c:v>
                </c:pt>
                <c:pt idx="399">
                  <c:v>818</c:v>
                </c:pt>
                <c:pt idx="400">
                  <c:v>818</c:v>
                </c:pt>
                <c:pt idx="401">
                  <c:v>818</c:v>
                </c:pt>
                <c:pt idx="402">
                  <c:v>819</c:v>
                </c:pt>
                <c:pt idx="403">
                  <c:v>820</c:v>
                </c:pt>
                <c:pt idx="404">
                  <c:v>820</c:v>
                </c:pt>
                <c:pt idx="405">
                  <c:v>821</c:v>
                </c:pt>
                <c:pt idx="406">
                  <c:v>821</c:v>
                </c:pt>
                <c:pt idx="407">
                  <c:v>825</c:v>
                </c:pt>
                <c:pt idx="408">
                  <c:v>829</c:v>
                </c:pt>
                <c:pt idx="409">
                  <c:v>833</c:v>
                </c:pt>
                <c:pt idx="410">
                  <c:v>837</c:v>
                </c:pt>
                <c:pt idx="411">
                  <c:v>841</c:v>
                </c:pt>
                <c:pt idx="412">
                  <c:v>844</c:v>
                </c:pt>
                <c:pt idx="413">
                  <c:v>846</c:v>
                </c:pt>
                <c:pt idx="414">
                  <c:v>849</c:v>
                </c:pt>
                <c:pt idx="415">
                  <c:v>851</c:v>
                </c:pt>
                <c:pt idx="416">
                  <c:v>853</c:v>
                </c:pt>
                <c:pt idx="417">
                  <c:v>855</c:v>
                </c:pt>
                <c:pt idx="418">
                  <c:v>856</c:v>
                </c:pt>
                <c:pt idx="419">
                  <c:v>858</c:v>
                </c:pt>
                <c:pt idx="420">
                  <c:v>859</c:v>
                </c:pt>
                <c:pt idx="421">
                  <c:v>860</c:v>
                </c:pt>
                <c:pt idx="422">
                  <c:v>861</c:v>
                </c:pt>
                <c:pt idx="423">
                  <c:v>862</c:v>
                </c:pt>
                <c:pt idx="424">
                  <c:v>862</c:v>
                </c:pt>
                <c:pt idx="425">
                  <c:v>864</c:v>
                </c:pt>
                <c:pt idx="426">
                  <c:v>864</c:v>
                </c:pt>
                <c:pt idx="427">
                  <c:v>865</c:v>
                </c:pt>
                <c:pt idx="428">
                  <c:v>866</c:v>
                </c:pt>
                <c:pt idx="429">
                  <c:v>868</c:v>
                </c:pt>
                <c:pt idx="430">
                  <c:v>869</c:v>
                </c:pt>
                <c:pt idx="431">
                  <c:v>870</c:v>
                </c:pt>
                <c:pt idx="432">
                  <c:v>872</c:v>
                </c:pt>
                <c:pt idx="433">
                  <c:v>874</c:v>
                </c:pt>
                <c:pt idx="434">
                  <c:v>876</c:v>
                </c:pt>
                <c:pt idx="435">
                  <c:v>879</c:v>
                </c:pt>
                <c:pt idx="436">
                  <c:v>880</c:v>
                </c:pt>
                <c:pt idx="437">
                  <c:v>882</c:v>
                </c:pt>
                <c:pt idx="438">
                  <c:v>882</c:v>
                </c:pt>
                <c:pt idx="439">
                  <c:v>884</c:v>
                </c:pt>
                <c:pt idx="440">
                  <c:v>885</c:v>
                </c:pt>
                <c:pt idx="441">
                  <c:v>886</c:v>
                </c:pt>
                <c:pt idx="442">
                  <c:v>886</c:v>
                </c:pt>
                <c:pt idx="443">
                  <c:v>887</c:v>
                </c:pt>
                <c:pt idx="444">
                  <c:v>887</c:v>
                </c:pt>
                <c:pt idx="445">
                  <c:v>888</c:v>
                </c:pt>
                <c:pt idx="446">
                  <c:v>888</c:v>
                </c:pt>
                <c:pt idx="447">
                  <c:v>889</c:v>
                </c:pt>
                <c:pt idx="448">
                  <c:v>890</c:v>
                </c:pt>
                <c:pt idx="449">
                  <c:v>890</c:v>
                </c:pt>
                <c:pt idx="450">
                  <c:v>891</c:v>
                </c:pt>
                <c:pt idx="451">
                  <c:v>892</c:v>
                </c:pt>
                <c:pt idx="452">
                  <c:v>893</c:v>
                </c:pt>
                <c:pt idx="453">
                  <c:v>894</c:v>
                </c:pt>
                <c:pt idx="454">
                  <c:v>896</c:v>
                </c:pt>
                <c:pt idx="455">
                  <c:v>898</c:v>
                </c:pt>
                <c:pt idx="456">
                  <c:v>899</c:v>
                </c:pt>
                <c:pt idx="457">
                  <c:v>901</c:v>
                </c:pt>
                <c:pt idx="458">
                  <c:v>903</c:v>
                </c:pt>
                <c:pt idx="459">
                  <c:v>905</c:v>
                </c:pt>
                <c:pt idx="460">
                  <c:v>906</c:v>
                </c:pt>
                <c:pt idx="461">
                  <c:v>907</c:v>
                </c:pt>
                <c:pt idx="462">
                  <c:v>909</c:v>
                </c:pt>
                <c:pt idx="463">
                  <c:v>910</c:v>
                </c:pt>
                <c:pt idx="464">
                  <c:v>911</c:v>
                </c:pt>
                <c:pt idx="465">
                  <c:v>912</c:v>
                </c:pt>
                <c:pt idx="466">
                  <c:v>912</c:v>
                </c:pt>
                <c:pt idx="467">
                  <c:v>913</c:v>
                </c:pt>
                <c:pt idx="468">
                  <c:v>914</c:v>
                </c:pt>
                <c:pt idx="469">
                  <c:v>914</c:v>
                </c:pt>
                <c:pt idx="470">
                  <c:v>915</c:v>
                </c:pt>
                <c:pt idx="471">
                  <c:v>916</c:v>
                </c:pt>
                <c:pt idx="472">
                  <c:v>916</c:v>
                </c:pt>
                <c:pt idx="473">
                  <c:v>917</c:v>
                </c:pt>
                <c:pt idx="474">
                  <c:v>918</c:v>
                </c:pt>
                <c:pt idx="475">
                  <c:v>919</c:v>
                </c:pt>
                <c:pt idx="476">
                  <c:v>920</c:v>
                </c:pt>
                <c:pt idx="477">
                  <c:v>921</c:v>
                </c:pt>
                <c:pt idx="478">
                  <c:v>923</c:v>
                </c:pt>
                <c:pt idx="479">
                  <c:v>924</c:v>
                </c:pt>
                <c:pt idx="480">
                  <c:v>925</c:v>
                </c:pt>
                <c:pt idx="481">
                  <c:v>926</c:v>
                </c:pt>
                <c:pt idx="482">
                  <c:v>927</c:v>
                </c:pt>
                <c:pt idx="483">
                  <c:v>928</c:v>
                </c:pt>
                <c:pt idx="484">
                  <c:v>929</c:v>
                </c:pt>
                <c:pt idx="485">
                  <c:v>930</c:v>
                </c:pt>
                <c:pt idx="486">
                  <c:v>931</c:v>
                </c:pt>
                <c:pt idx="487">
                  <c:v>931</c:v>
                </c:pt>
                <c:pt idx="488">
                  <c:v>932</c:v>
                </c:pt>
                <c:pt idx="489">
                  <c:v>933</c:v>
                </c:pt>
                <c:pt idx="490">
                  <c:v>933</c:v>
                </c:pt>
                <c:pt idx="491">
                  <c:v>933</c:v>
                </c:pt>
                <c:pt idx="492">
                  <c:v>934</c:v>
                </c:pt>
                <c:pt idx="493">
                  <c:v>935</c:v>
                </c:pt>
                <c:pt idx="494">
                  <c:v>935</c:v>
                </c:pt>
                <c:pt idx="495">
                  <c:v>936</c:v>
                </c:pt>
                <c:pt idx="496">
                  <c:v>936</c:v>
                </c:pt>
                <c:pt idx="497">
                  <c:v>937</c:v>
                </c:pt>
                <c:pt idx="498">
                  <c:v>937</c:v>
                </c:pt>
                <c:pt idx="499">
                  <c:v>938</c:v>
                </c:pt>
                <c:pt idx="500">
                  <c:v>938</c:v>
                </c:pt>
                <c:pt idx="501">
                  <c:v>938</c:v>
                </c:pt>
                <c:pt idx="502">
                  <c:v>939</c:v>
                </c:pt>
                <c:pt idx="503">
                  <c:v>941</c:v>
                </c:pt>
                <c:pt idx="504">
                  <c:v>982</c:v>
                </c:pt>
                <c:pt idx="505">
                  <c:v>985</c:v>
                </c:pt>
                <c:pt idx="506">
                  <c:v>987</c:v>
                </c:pt>
                <c:pt idx="507">
                  <c:v>990</c:v>
                </c:pt>
                <c:pt idx="508">
                  <c:v>992</c:v>
                </c:pt>
                <c:pt idx="509">
                  <c:v>993</c:v>
                </c:pt>
                <c:pt idx="510">
                  <c:v>994</c:v>
                </c:pt>
                <c:pt idx="511">
                  <c:v>995</c:v>
                </c:pt>
                <c:pt idx="512">
                  <c:v>995</c:v>
                </c:pt>
                <c:pt idx="513">
                  <c:v>996</c:v>
                </c:pt>
                <c:pt idx="514">
                  <c:v>997</c:v>
                </c:pt>
                <c:pt idx="515">
                  <c:v>997</c:v>
                </c:pt>
                <c:pt idx="516">
                  <c:v>997</c:v>
                </c:pt>
                <c:pt idx="517">
                  <c:v>998</c:v>
                </c:pt>
                <c:pt idx="518">
                  <c:v>998</c:v>
                </c:pt>
                <c:pt idx="519">
                  <c:v>999</c:v>
                </c:pt>
                <c:pt idx="520">
                  <c:v>999</c:v>
                </c:pt>
                <c:pt idx="521">
                  <c:v>1000</c:v>
                </c:pt>
                <c:pt idx="522">
                  <c:v>1000</c:v>
                </c:pt>
                <c:pt idx="523">
                  <c:v>1001</c:v>
                </c:pt>
                <c:pt idx="524">
                  <c:v>1001</c:v>
                </c:pt>
                <c:pt idx="525">
                  <c:v>1002</c:v>
                </c:pt>
                <c:pt idx="526">
                  <c:v>1004</c:v>
                </c:pt>
                <c:pt idx="527">
                  <c:v>1006</c:v>
                </c:pt>
                <c:pt idx="528">
                  <c:v>1007</c:v>
                </c:pt>
                <c:pt idx="529">
                  <c:v>1009</c:v>
                </c:pt>
                <c:pt idx="530">
                  <c:v>1011</c:v>
                </c:pt>
                <c:pt idx="531">
                  <c:v>1013</c:v>
                </c:pt>
                <c:pt idx="532">
                  <c:v>1014</c:v>
                </c:pt>
                <c:pt idx="533">
                  <c:v>1015</c:v>
                </c:pt>
                <c:pt idx="534">
                  <c:v>1016</c:v>
                </c:pt>
                <c:pt idx="535">
                  <c:v>1017</c:v>
                </c:pt>
                <c:pt idx="536">
                  <c:v>1018</c:v>
                </c:pt>
                <c:pt idx="537">
                  <c:v>1018</c:v>
                </c:pt>
                <c:pt idx="538">
                  <c:v>1019</c:v>
                </c:pt>
                <c:pt idx="539">
                  <c:v>1020</c:v>
                </c:pt>
                <c:pt idx="540">
                  <c:v>1020</c:v>
                </c:pt>
                <c:pt idx="541">
                  <c:v>1021</c:v>
                </c:pt>
                <c:pt idx="542">
                  <c:v>1021</c:v>
                </c:pt>
                <c:pt idx="543">
                  <c:v>1022</c:v>
                </c:pt>
                <c:pt idx="544">
                  <c:v>1022</c:v>
                </c:pt>
                <c:pt idx="545">
                  <c:v>1023</c:v>
                </c:pt>
                <c:pt idx="546">
                  <c:v>1023</c:v>
                </c:pt>
                <c:pt idx="547">
                  <c:v>1023</c:v>
                </c:pt>
                <c:pt idx="548">
                  <c:v>1024</c:v>
                </c:pt>
                <c:pt idx="549">
                  <c:v>1025</c:v>
                </c:pt>
                <c:pt idx="550">
                  <c:v>1026</c:v>
                </c:pt>
                <c:pt idx="551">
                  <c:v>1026</c:v>
                </c:pt>
                <c:pt idx="552">
                  <c:v>1026</c:v>
                </c:pt>
                <c:pt idx="553">
                  <c:v>1027</c:v>
                </c:pt>
                <c:pt idx="554">
                  <c:v>1026</c:v>
                </c:pt>
                <c:pt idx="555">
                  <c:v>1027</c:v>
                </c:pt>
                <c:pt idx="556">
                  <c:v>1026</c:v>
                </c:pt>
                <c:pt idx="557">
                  <c:v>1031</c:v>
                </c:pt>
                <c:pt idx="558">
                  <c:v>1031</c:v>
                </c:pt>
                <c:pt idx="559">
                  <c:v>1031</c:v>
                </c:pt>
                <c:pt idx="560">
                  <c:v>1032</c:v>
                </c:pt>
                <c:pt idx="561">
                  <c:v>1033</c:v>
                </c:pt>
                <c:pt idx="562">
                  <c:v>1034</c:v>
                </c:pt>
                <c:pt idx="563">
                  <c:v>1035</c:v>
                </c:pt>
                <c:pt idx="564">
                  <c:v>1035</c:v>
                </c:pt>
                <c:pt idx="565">
                  <c:v>1036</c:v>
                </c:pt>
                <c:pt idx="566">
                  <c:v>1037</c:v>
                </c:pt>
                <c:pt idx="567">
                  <c:v>1037</c:v>
                </c:pt>
                <c:pt idx="568">
                  <c:v>1038</c:v>
                </c:pt>
                <c:pt idx="569">
                  <c:v>1038</c:v>
                </c:pt>
                <c:pt idx="570">
                  <c:v>1039</c:v>
                </c:pt>
                <c:pt idx="571">
                  <c:v>1040</c:v>
                </c:pt>
                <c:pt idx="572">
                  <c:v>1040</c:v>
                </c:pt>
                <c:pt idx="573">
                  <c:v>1041</c:v>
                </c:pt>
                <c:pt idx="574">
                  <c:v>1042</c:v>
                </c:pt>
                <c:pt idx="575">
                  <c:v>1043</c:v>
                </c:pt>
                <c:pt idx="576">
                  <c:v>1044</c:v>
                </c:pt>
                <c:pt idx="577">
                  <c:v>1046</c:v>
                </c:pt>
                <c:pt idx="578">
                  <c:v>1048</c:v>
                </c:pt>
                <c:pt idx="579">
                  <c:v>1050</c:v>
                </c:pt>
                <c:pt idx="580">
                  <c:v>1052</c:v>
                </c:pt>
                <c:pt idx="581">
                  <c:v>1053</c:v>
                </c:pt>
                <c:pt idx="582">
                  <c:v>1054</c:v>
                </c:pt>
                <c:pt idx="583">
                  <c:v>1055</c:v>
                </c:pt>
                <c:pt idx="584">
                  <c:v>1056</c:v>
                </c:pt>
                <c:pt idx="585">
                  <c:v>1057</c:v>
                </c:pt>
                <c:pt idx="586">
                  <c:v>1057</c:v>
                </c:pt>
                <c:pt idx="587">
                  <c:v>1058</c:v>
                </c:pt>
                <c:pt idx="588">
                  <c:v>1059</c:v>
                </c:pt>
                <c:pt idx="589">
                  <c:v>1058</c:v>
                </c:pt>
                <c:pt idx="590">
                  <c:v>1059</c:v>
                </c:pt>
                <c:pt idx="591">
                  <c:v>1060</c:v>
                </c:pt>
                <c:pt idx="592">
                  <c:v>1061</c:v>
                </c:pt>
                <c:pt idx="593">
                  <c:v>1061</c:v>
                </c:pt>
                <c:pt idx="594">
                  <c:v>1062</c:v>
                </c:pt>
                <c:pt idx="595">
                  <c:v>1062</c:v>
                </c:pt>
                <c:pt idx="596">
                  <c:v>1063</c:v>
                </c:pt>
                <c:pt idx="597">
                  <c:v>1064</c:v>
                </c:pt>
                <c:pt idx="598">
                  <c:v>1065</c:v>
                </c:pt>
                <c:pt idx="599">
                  <c:v>1066</c:v>
                </c:pt>
                <c:pt idx="600">
                  <c:v>1067</c:v>
                </c:pt>
                <c:pt idx="601">
                  <c:v>1068</c:v>
                </c:pt>
                <c:pt idx="602">
                  <c:v>1069</c:v>
                </c:pt>
                <c:pt idx="603">
                  <c:v>1071</c:v>
                </c:pt>
                <c:pt idx="604">
                  <c:v>1072</c:v>
                </c:pt>
                <c:pt idx="605">
                  <c:v>1073</c:v>
                </c:pt>
                <c:pt idx="606">
                  <c:v>1074</c:v>
                </c:pt>
                <c:pt idx="607">
                  <c:v>1075</c:v>
                </c:pt>
                <c:pt idx="608">
                  <c:v>1076</c:v>
                </c:pt>
                <c:pt idx="609">
                  <c:v>1077</c:v>
                </c:pt>
                <c:pt idx="610">
                  <c:v>1078</c:v>
                </c:pt>
                <c:pt idx="611">
                  <c:v>1079</c:v>
                </c:pt>
                <c:pt idx="612">
                  <c:v>1080</c:v>
                </c:pt>
                <c:pt idx="613">
                  <c:v>1081</c:v>
                </c:pt>
                <c:pt idx="614">
                  <c:v>1082</c:v>
                </c:pt>
                <c:pt idx="615">
                  <c:v>1082</c:v>
                </c:pt>
                <c:pt idx="616">
                  <c:v>1083</c:v>
                </c:pt>
                <c:pt idx="617">
                  <c:v>1084</c:v>
                </c:pt>
                <c:pt idx="618">
                  <c:v>1085</c:v>
                </c:pt>
                <c:pt idx="619">
                  <c:v>1086</c:v>
                </c:pt>
                <c:pt idx="620">
                  <c:v>1087</c:v>
                </c:pt>
                <c:pt idx="621">
                  <c:v>1088</c:v>
                </c:pt>
                <c:pt idx="622">
                  <c:v>1089</c:v>
                </c:pt>
                <c:pt idx="623">
                  <c:v>1090</c:v>
                </c:pt>
                <c:pt idx="624">
                  <c:v>1092</c:v>
                </c:pt>
                <c:pt idx="625">
                  <c:v>1093</c:v>
                </c:pt>
                <c:pt idx="626">
                  <c:v>1094</c:v>
                </c:pt>
                <c:pt idx="627">
                  <c:v>1096</c:v>
                </c:pt>
                <c:pt idx="628">
                  <c:v>1097</c:v>
                </c:pt>
                <c:pt idx="629">
                  <c:v>1098</c:v>
                </c:pt>
                <c:pt idx="630">
                  <c:v>1099</c:v>
                </c:pt>
                <c:pt idx="631">
                  <c:v>1100</c:v>
                </c:pt>
                <c:pt idx="632">
                  <c:v>1102</c:v>
                </c:pt>
                <c:pt idx="633">
                  <c:v>1102</c:v>
                </c:pt>
                <c:pt idx="634">
                  <c:v>1103</c:v>
                </c:pt>
                <c:pt idx="635">
                  <c:v>1104</c:v>
                </c:pt>
                <c:pt idx="636">
                  <c:v>1105</c:v>
                </c:pt>
                <c:pt idx="637">
                  <c:v>1106</c:v>
                </c:pt>
                <c:pt idx="638">
                  <c:v>1107</c:v>
                </c:pt>
                <c:pt idx="639">
                  <c:v>1107</c:v>
                </c:pt>
                <c:pt idx="640">
                  <c:v>1108</c:v>
                </c:pt>
                <c:pt idx="641">
                  <c:v>1109</c:v>
                </c:pt>
                <c:pt idx="642">
                  <c:v>1109</c:v>
                </c:pt>
                <c:pt idx="643">
                  <c:v>1111</c:v>
                </c:pt>
                <c:pt idx="644">
                  <c:v>1111</c:v>
                </c:pt>
                <c:pt idx="645">
                  <c:v>1112</c:v>
                </c:pt>
                <c:pt idx="646">
                  <c:v>1114</c:v>
                </c:pt>
                <c:pt idx="647">
                  <c:v>1115</c:v>
                </c:pt>
                <c:pt idx="648">
                  <c:v>1117</c:v>
                </c:pt>
                <c:pt idx="649">
                  <c:v>1118</c:v>
                </c:pt>
                <c:pt idx="650">
                  <c:v>1120</c:v>
                </c:pt>
                <c:pt idx="651">
                  <c:v>1122</c:v>
                </c:pt>
                <c:pt idx="652">
                  <c:v>1123</c:v>
                </c:pt>
                <c:pt idx="653">
                  <c:v>1125</c:v>
                </c:pt>
                <c:pt idx="654">
                  <c:v>1126</c:v>
                </c:pt>
                <c:pt idx="655">
                  <c:v>1127</c:v>
                </c:pt>
                <c:pt idx="656">
                  <c:v>1128</c:v>
                </c:pt>
                <c:pt idx="657">
                  <c:v>1128</c:v>
                </c:pt>
                <c:pt idx="658">
                  <c:v>1129</c:v>
                </c:pt>
                <c:pt idx="659">
                  <c:v>1130</c:v>
                </c:pt>
                <c:pt idx="660">
                  <c:v>1130</c:v>
                </c:pt>
                <c:pt idx="661">
                  <c:v>1132</c:v>
                </c:pt>
                <c:pt idx="662">
                  <c:v>1132</c:v>
                </c:pt>
                <c:pt idx="663">
                  <c:v>1132</c:v>
                </c:pt>
                <c:pt idx="664">
                  <c:v>1133</c:v>
                </c:pt>
                <c:pt idx="665">
                  <c:v>1134</c:v>
                </c:pt>
                <c:pt idx="666">
                  <c:v>1135</c:v>
                </c:pt>
                <c:pt idx="667">
                  <c:v>1135</c:v>
                </c:pt>
                <c:pt idx="668">
                  <c:v>113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D509-074A-863F-CF82D1016723}"/>
            </c:ext>
          </c:extLst>
        </c:ser>
        <c:ser>
          <c:idx val="1"/>
          <c:order val="2"/>
          <c:tx>
            <c:v>21</c:v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xVal>
            <c:numRef>
              <c:f>'7 Gärrest ungerührt'!$D$20:$D$688</c:f>
              <c:numCache>
                <c:formatCode>0</c:formatCode>
                <c:ptCount val="669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  <c:pt idx="668">
                  <c:v>27.833333333333332</c:v>
                </c:pt>
              </c:numCache>
            </c:numRef>
          </c:xVal>
          <c:yVal>
            <c:numRef>
              <c:f>'21 Gärrest ungerührt'!$E$20:$E$688</c:f>
              <c:numCache>
                <c:formatCode>General</c:formatCode>
                <c:ptCount val="669"/>
                <c:pt idx="0">
                  <c:v>0</c:v>
                </c:pt>
                <c:pt idx="1">
                  <c:v>65</c:v>
                </c:pt>
                <c:pt idx="2">
                  <c:v>86</c:v>
                </c:pt>
                <c:pt idx="3">
                  <c:v>103</c:v>
                </c:pt>
                <c:pt idx="4">
                  <c:v>117</c:v>
                </c:pt>
                <c:pt idx="5">
                  <c:v>129</c:v>
                </c:pt>
                <c:pt idx="6">
                  <c:v>138</c:v>
                </c:pt>
                <c:pt idx="7">
                  <c:v>145</c:v>
                </c:pt>
                <c:pt idx="8">
                  <c:v>152</c:v>
                </c:pt>
                <c:pt idx="9">
                  <c:v>157</c:v>
                </c:pt>
                <c:pt idx="10">
                  <c:v>166</c:v>
                </c:pt>
                <c:pt idx="11">
                  <c:v>172</c:v>
                </c:pt>
                <c:pt idx="12">
                  <c:v>177</c:v>
                </c:pt>
                <c:pt idx="13">
                  <c:v>181</c:v>
                </c:pt>
                <c:pt idx="14">
                  <c:v>185</c:v>
                </c:pt>
                <c:pt idx="15">
                  <c:v>188</c:v>
                </c:pt>
                <c:pt idx="16">
                  <c:v>191</c:v>
                </c:pt>
                <c:pt idx="17">
                  <c:v>194</c:v>
                </c:pt>
                <c:pt idx="18">
                  <c:v>197</c:v>
                </c:pt>
                <c:pt idx="19">
                  <c:v>198</c:v>
                </c:pt>
                <c:pt idx="20">
                  <c:v>204</c:v>
                </c:pt>
                <c:pt idx="21">
                  <c:v>210</c:v>
                </c:pt>
                <c:pt idx="22">
                  <c:v>213</c:v>
                </c:pt>
                <c:pt idx="23">
                  <c:v>214</c:v>
                </c:pt>
                <c:pt idx="24">
                  <c:v>219</c:v>
                </c:pt>
                <c:pt idx="25">
                  <c:v>224</c:v>
                </c:pt>
                <c:pt idx="26">
                  <c:v>229</c:v>
                </c:pt>
                <c:pt idx="27">
                  <c:v>268</c:v>
                </c:pt>
                <c:pt idx="28">
                  <c:v>272</c:v>
                </c:pt>
                <c:pt idx="29">
                  <c:v>274</c:v>
                </c:pt>
                <c:pt idx="30">
                  <c:v>277</c:v>
                </c:pt>
                <c:pt idx="31">
                  <c:v>279</c:v>
                </c:pt>
                <c:pt idx="32">
                  <c:v>280</c:v>
                </c:pt>
                <c:pt idx="33">
                  <c:v>281</c:v>
                </c:pt>
                <c:pt idx="34">
                  <c:v>282</c:v>
                </c:pt>
                <c:pt idx="35">
                  <c:v>284</c:v>
                </c:pt>
                <c:pt idx="36">
                  <c:v>285</c:v>
                </c:pt>
                <c:pt idx="37">
                  <c:v>286</c:v>
                </c:pt>
                <c:pt idx="38">
                  <c:v>287</c:v>
                </c:pt>
                <c:pt idx="39">
                  <c:v>288</c:v>
                </c:pt>
                <c:pt idx="40">
                  <c:v>289</c:v>
                </c:pt>
                <c:pt idx="41">
                  <c:v>290</c:v>
                </c:pt>
                <c:pt idx="42">
                  <c:v>292</c:v>
                </c:pt>
                <c:pt idx="43">
                  <c:v>294</c:v>
                </c:pt>
                <c:pt idx="44">
                  <c:v>296</c:v>
                </c:pt>
                <c:pt idx="45">
                  <c:v>298</c:v>
                </c:pt>
                <c:pt idx="46">
                  <c:v>302</c:v>
                </c:pt>
                <c:pt idx="47">
                  <c:v>305</c:v>
                </c:pt>
                <c:pt idx="48">
                  <c:v>311</c:v>
                </c:pt>
                <c:pt idx="49">
                  <c:v>321</c:v>
                </c:pt>
                <c:pt idx="50">
                  <c:v>328</c:v>
                </c:pt>
                <c:pt idx="51">
                  <c:v>334</c:v>
                </c:pt>
                <c:pt idx="52">
                  <c:v>336</c:v>
                </c:pt>
                <c:pt idx="53">
                  <c:v>337</c:v>
                </c:pt>
                <c:pt idx="54">
                  <c:v>339</c:v>
                </c:pt>
                <c:pt idx="55">
                  <c:v>340</c:v>
                </c:pt>
                <c:pt idx="56">
                  <c:v>341</c:v>
                </c:pt>
                <c:pt idx="57">
                  <c:v>342</c:v>
                </c:pt>
                <c:pt idx="58">
                  <c:v>343</c:v>
                </c:pt>
                <c:pt idx="59">
                  <c:v>344</c:v>
                </c:pt>
                <c:pt idx="60">
                  <c:v>345</c:v>
                </c:pt>
                <c:pt idx="61">
                  <c:v>347</c:v>
                </c:pt>
                <c:pt idx="62">
                  <c:v>348</c:v>
                </c:pt>
                <c:pt idx="63">
                  <c:v>349</c:v>
                </c:pt>
                <c:pt idx="64">
                  <c:v>351</c:v>
                </c:pt>
                <c:pt idx="65">
                  <c:v>352</c:v>
                </c:pt>
                <c:pt idx="66">
                  <c:v>354</c:v>
                </c:pt>
                <c:pt idx="67">
                  <c:v>351</c:v>
                </c:pt>
                <c:pt idx="68">
                  <c:v>351</c:v>
                </c:pt>
                <c:pt idx="69">
                  <c:v>351</c:v>
                </c:pt>
                <c:pt idx="70">
                  <c:v>352</c:v>
                </c:pt>
                <c:pt idx="71">
                  <c:v>354</c:v>
                </c:pt>
                <c:pt idx="72">
                  <c:v>357</c:v>
                </c:pt>
                <c:pt idx="73">
                  <c:v>382</c:v>
                </c:pt>
                <c:pt idx="74">
                  <c:v>394</c:v>
                </c:pt>
                <c:pt idx="75">
                  <c:v>399</c:v>
                </c:pt>
                <c:pt idx="76">
                  <c:v>404</c:v>
                </c:pt>
                <c:pt idx="77">
                  <c:v>407</c:v>
                </c:pt>
                <c:pt idx="78">
                  <c:v>410</c:v>
                </c:pt>
                <c:pt idx="79">
                  <c:v>413</c:v>
                </c:pt>
                <c:pt idx="80">
                  <c:v>415</c:v>
                </c:pt>
                <c:pt idx="81">
                  <c:v>417</c:v>
                </c:pt>
                <c:pt idx="82">
                  <c:v>419</c:v>
                </c:pt>
                <c:pt idx="83">
                  <c:v>420</c:v>
                </c:pt>
                <c:pt idx="84">
                  <c:v>422</c:v>
                </c:pt>
                <c:pt idx="85">
                  <c:v>424</c:v>
                </c:pt>
                <c:pt idx="86">
                  <c:v>425</c:v>
                </c:pt>
                <c:pt idx="87">
                  <c:v>426</c:v>
                </c:pt>
                <c:pt idx="88">
                  <c:v>428</c:v>
                </c:pt>
                <c:pt idx="89">
                  <c:v>430</c:v>
                </c:pt>
                <c:pt idx="90">
                  <c:v>431</c:v>
                </c:pt>
                <c:pt idx="91">
                  <c:v>433</c:v>
                </c:pt>
                <c:pt idx="92">
                  <c:v>435</c:v>
                </c:pt>
                <c:pt idx="93">
                  <c:v>437</c:v>
                </c:pt>
                <c:pt idx="94">
                  <c:v>440</c:v>
                </c:pt>
                <c:pt idx="95">
                  <c:v>444</c:v>
                </c:pt>
                <c:pt idx="96">
                  <c:v>445</c:v>
                </c:pt>
                <c:pt idx="97">
                  <c:v>447</c:v>
                </c:pt>
                <c:pt idx="98">
                  <c:v>450</c:v>
                </c:pt>
                <c:pt idx="99">
                  <c:v>453</c:v>
                </c:pt>
                <c:pt idx="100">
                  <c:v>456</c:v>
                </c:pt>
                <c:pt idx="101">
                  <c:v>459</c:v>
                </c:pt>
                <c:pt idx="102">
                  <c:v>461</c:v>
                </c:pt>
                <c:pt idx="103">
                  <c:v>462</c:v>
                </c:pt>
                <c:pt idx="104">
                  <c:v>465</c:v>
                </c:pt>
                <c:pt idx="105">
                  <c:v>466</c:v>
                </c:pt>
                <c:pt idx="106">
                  <c:v>468</c:v>
                </c:pt>
                <c:pt idx="107">
                  <c:v>469</c:v>
                </c:pt>
                <c:pt idx="108">
                  <c:v>471</c:v>
                </c:pt>
                <c:pt idx="109">
                  <c:v>471</c:v>
                </c:pt>
                <c:pt idx="110">
                  <c:v>473</c:v>
                </c:pt>
                <c:pt idx="111">
                  <c:v>474</c:v>
                </c:pt>
                <c:pt idx="112">
                  <c:v>474</c:v>
                </c:pt>
                <c:pt idx="113">
                  <c:v>475</c:v>
                </c:pt>
                <c:pt idx="114">
                  <c:v>476</c:v>
                </c:pt>
                <c:pt idx="115">
                  <c:v>477</c:v>
                </c:pt>
                <c:pt idx="116">
                  <c:v>478</c:v>
                </c:pt>
                <c:pt idx="117">
                  <c:v>480</c:v>
                </c:pt>
                <c:pt idx="118">
                  <c:v>482</c:v>
                </c:pt>
                <c:pt idx="119">
                  <c:v>483</c:v>
                </c:pt>
                <c:pt idx="120">
                  <c:v>485</c:v>
                </c:pt>
                <c:pt idx="121">
                  <c:v>488</c:v>
                </c:pt>
                <c:pt idx="122">
                  <c:v>490</c:v>
                </c:pt>
                <c:pt idx="123">
                  <c:v>493</c:v>
                </c:pt>
                <c:pt idx="124">
                  <c:v>495</c:v>
                </c:pt>
                <c:pt idx="125">
                  <c:v>496</c:v>
                </c:pt>
                <c:pt idx="126">
                  <c:v>497</c:v>
                </c:pt>
                <c:pt idx="127">
                  <c:v>499</c:v>
                </c:pt>
                <c:pt idx="128">
                  <c:v>499</c:v>
                </c:pt>
                <c:pt idx="129">
                  <c:v>500</c:v>
                </c:pt>
                <c:pt idx="130">
                  <c:v>501</c:v>
                </c:pt>
                <c:pt idx="131">
                  <c:v>501</c:v>
                </c:pt>
                <c:pt idx="132">
                  <c:v>502</c:v>
                </c:pt>
                <c:pt idx="133">
                  <c:v>503</c:v>
                </c:pt>
                <c:pt idx="134">
                  <c:v>503</c:v>
                </c:pt>
                <c:pt idx="135">
                  <c:v>504</c:v>
                </c:pt>
                <c:pt idx="136">
                  <c:v>504</c:v>
                </c:pt>
                <c:pt idx="137">
                  <c:v>505</c:v>
                </c:pt>
                <c:pt idx="138">
                  <c:v>506</c:v>
                </c:pt>
                <c:pt idx="139">
                  <c:v>507</c:v>
                </c:pt>
                <c:pt idx="140">
                  <c:v>508</c:v>
                </c:pt>
                <c:pt idx="141">
                  <c:v>509</c:v>
                </c:pt>
                <c:pt idx="142">
                  <c:v>511</c:v>
                </c:pt>
                <c:pt idx="143">
                  <c:v>513</c:v>
                </c:pt>
                <c:pt idx="144">
                  <c:v>515</c:v>
                </c:pt>
                <c:pt idx="145">
                  <c:v>518</c:v>
                </c:pt>
                <c:pt idx="146">
                  <c:v>521</c:v>
                </c:pt>
                <c:pt idx="147">
                  <c:v>523</c:v>
                </c:pt>
                <c:pt idx="148">
                  <c:v>525</c:v>
                </c:pt>
                <c:pt idx="149">
                  <c:v>527</c:v>
                </c:pt>
                <c:pt idx="150">
                  <c:v>529</c:v>
                </c:pt>
                <c:pt idx="151">
                  <c:v>530</c:v>
                </c:pt>
                <c:pt idx="152">
                  <c:v>532</c:v>
                </c:pt>
                <c:pt idx="153">
                  <c:v>533</c:v>
                </c:pt>
                <c:pt idx="154">
                  <c:v>534</c:v>
                </c:pt>
                <c:pt idx="155">
                  <c:v>535</c:v>
                </c:pt>
                <c:pt idx="156">
                  <c:v>536</c:v>
                </c:pt>
                <c:pt idx="157">
                  <c:v>537</c:v>
                </c:pt>
                <c:pt idx="158">
                  <c:v>538</c:v>
                </c:pt>
                <c:pt idx="159">
                  <c:v>539</c:v>
                </c:pt>
                <c:pt idx="160">
                  <c:v>540</c:v>
                </c:pt>
                <c:pt idx="161">
                  <c:v>541</c:v>
                </c:pt>
                <c:pt idx="162">
                  <c:v>542</c:v>
                </c:pt>
                <c:pt idx="163">
                  <c:v>544</c:v>
                </c:pt>
                <c:pt idx="164">
                  <c:v>545</c:v>
                </c:pt>
                <c:pt idx="165">
                  <c:v>547</c:v>
                </c:pt>
                <c:pt idx="166">
                  <c:v>549</c:v>
                </c:pt>
                <c:pt idx="167">
                  <c:v>551</c:v>
                </c:pt>
                <c:pt idx="168">
                  <c:v>552</c:v>
                </c:pt>
                <c:pt idx="169">
                  <c:v>586</c:v>
                </c:pt>
                <c:pt idx="170">
                  <c:v>591</c:v>
                </c:pt>
                <c:pt idx="171">
                  <c:v>595</c:v>
                </c:pt>
                <c:pt idx="172">
                  <c:v>598</c:v>
                </c:pt>
                <c:pt idx="173">
                  <c:v>600</c:v>
                </c:pt>
                <c:pt idx="174">
                  <c:v>602</c:v>
                </c:pt>
                <c:pt idx="175">
                  <c:v>603</c:v>
                </c:pt>
                <c:pt idx="176">
                  <c:v>605</c:v>
                </c:pt>
                <c:pt idx="177">
                  <c:v>607</c:v>
                </c:pt>
                <c:pt idx="178">
                  <c:v>608</c:v>
                </c:pt>
                <c:pt idx="179">
                  <c:v>610</c:v>
                </c:pt>
                <c:pt idx="180">
                  <c:v>610</c:v>
                </c:pt>
                <c:pt idx="181">
                  <c:v>612</c:v>
                </c:pt>
                <c:pt idx="182">
                  <c:v>613</c:v>
                </c:pt>
                <c:pt idx="183">
                  <c:v>614</c:v>
                </c:pt>
                <c:pt idx="184">
                  <c:v>615</c:v>
                </c:pt>
                <c:pt idx="185">
                  <c:v>615</c:v>
                </c:pt>
                <c:pt idx="186">
                  <c:v>617</c:v>
                </c:pt>
                <c:pt idx="187">
                  <c:v>617</c:v>
                </c:pt>
                <c:pt idx="188">
                  <c:v>618</c:v>
                </c:pt>
                <c:pt idx="189">
                  <c:v>619</c:v>
                </c:pt>
                <c:pt idx="190">
                  <c:v>621</c:v>
                </c:pt>
                <c:pt idx="191">
                  <c:v>623</c:v>
                </c:pt>
                <c:pt idx="192">
                  <c:v>625</c:v>
                </c:pt>
                <c:pt idx="193">
                  <c:v>628</c:v>
                </c:pt>
                <c:pt idx="194">
                  <c:v>630</c:v>
                </c:pt>
                <c:pt idx="195">
                  <c:v>633</c:v>
                </c:pt>
                <c:pt idx="196">
                  <c:v>635</c:v>
                </c:pt>
                <c:pt idx="197">
                  <c:v>635</c:v>
                </c:pt>
                <c:pt idx="198">
                  <c:v>636</c:v>
                </c:pt>
                <c:pt idx="199">
                  <c:v>637</c:v>
                </c:pt>
                <c:pt idx="200">
                  <c:v>638</c:v>
                </c:pt>
                <c:pt idx="201">
                  <c:v>638</c:v>
                </c:pt>
                <c:pt idx="202">
                  <c:v>639</c:v>
                </c:pt>
                <c:pt idx="203">
                  <c:v>639</c:v>
                </c:pt>
                <c:pt idx="204">
                  <c:v>640</c:v>
                </c:pt>
                <c:pt idx="205">
                  <c:v>641</c:v>
                </c:pt>
                <c:pt idx="206">
                  <c:v>641</c:v>
                </c:pt>
                <c:pt idx="207">
                  <c:v>642</c:v>
                </c:pt>
                <c:pt idx="208">
                  <c:v>642</c:v>
                </c:pt>
                <c:pt idx="209">
                  <c:v>643</c:v>
                </c:pt>
                <c:pt idx="210">
                  <c:v>644</c:v>
                </c:pt>
                <c:pt idx="211">
                  <c:v>645</c:v>
                </c:pt>
                <c:pt idx="212">
                  <c:v>646</c:v>
                </c:pt>
                <c:pt idx="213">
                  <c:v>647</c:v>
                </c:pt>
                <c:pt idx="214">
                  <c:v>649</c:v>
                </c:pt>
                <c:pt idx="215">
                  <c:v>650</c:v>
                </c:pt>
                <c:pt idx="216">
                  <c:v>652</c:v>
                </c:pt>
                <c:pt idx="217">
                  <c:v>653</c:v>
                </c:pt>
                <c:pt idx="218">
                  <c:v>655</c:v>
                </c:pt>
                <c:pt idx="219">
                  <c:v>657</c:v>
                </c:pt>
                <c:pt idx="220">
                  <c:v>658</c:v>
                </c:pt>
                <c:pt idx="221">
                  <c:v>659</c:v>
                </c:pt>
                <c:pt idx="222">
                  <c:v>660</c:v>
                </c:pt>
                <c:pt idx="223">
                  <c:v>661</c:v>
                </c:pt>
                <c:pt idx="224">
                  <c:v>662</c:v>
                </c:pt>
                <c:pt idx="225">
                  <c:v>662</c:v>
                </c:pt>
                <c:pt idx="226">
                  <c:v>663</c:v>
                </c:pt>
                <c:pt idx="227">
                  <c:v>663</c:v>
                </c:pt>
                <c:pt idx="228">
                  <c:v>664</c:v>
                </c:pt>
                <c:pt idx="229">
                  <c:v>664</c:v>
                </c:pt>
                <c:pt idx="230">
                  <c:v>665</c:v>
                </c:pt>
                <c:pt idx="231">
                  <c:v>665</c:v>
                </c:pt>
                <c:pt idx="232">
                  <c:v>666</c:v>
                </c:pt>
                <c:pt idx="233">
                  <c:v>667</c:v>
                </c:pt>
                <c:pt idx="234">
                  <c:v>667</c:v>
                </c:pt>
                <c:pt idx="235">
                  <c:v>669</c:v>
                </c:pt>
                <c:pt idx="236">
                  <c:v>670</c:v>
                </c:pt>
                <c:pt idx="237">
                  <c:v>671</c:v>
                </c:pt>
                <c:pt idx="238">
                  <c:v>672</c:v>
                </c:pt>
                <c:pt idx="239">
                  <c:v>675</c:v>
                </c:pt>
                <c:pt idx="240">
                  <c:v>676</c:v>
                </c:pt>
                <c:pt idx="241">
                  <c:v>679</c:v>
                </c:pt>
                <c:pt idx="242">
                  <c:v>682</c:v>
                </c:pt>
                <c:pt idx="243">
                  <c:v>684</c:v>
                </c:pt>
                <c:pt idx="244">
                  <c:v>685</c:v>
                </c:pt>
                <c:pt idx="245">
                  <c:v>686</c:v>
                </c:pt>
                <c:pt idx="246">
                  <c:v>687</c:v>
                </c:pt>
                <c:pt idx="247">
                  <c:v>687</c:v>
                </c:pt>
                <c:pt idx="248">
                  <c:v>688</c:v>
                </c:pt>
                <c:pt idx="249">
                  <c:v>689</c:v>
                </c:pt>
                <c:pt idx="250">
                  <c:v>690</c:v>
                </c:pt>
                <c:pt idx="251">
                  <c:v>690</c:v>
                </c:pt>
                <c:pt idx="252">
                  <c:v>691</c:v>
                </c:pt>
                <c:pt idx="253">
                  <c:v>691</c:v>
                </c:pt>
                <c:pt idx="254">
                  <c:v>692</c:v>
                </c:pt>
                <c:pt idx="255">
                  <c:v>693</c:v>
                </c:pt>
                <c:pt idx="256">
                  <c:v>693</c:v>
                </c:pt>
                <c:pt idx="257">
                  <c:v>694</c:v>
                </c:pt>
                <c:pt idx="258">
                  <c:v>694</c:v>
                </c:pt>
                <c:pt idx="259">
                  <c:v>695</c:v>
                </c:pt>
                <c:pt idx="260">
                  <c:v>696</c:v>
                </c:pt>
                <c:pt idx="261">
                  <c:v>698</c:v>
                </c:pt>
                <c:pt idx="262">
                  <c:v>699</c:v>
                </c:pt>
                <c:pt idx="263">
                  <c:v>722</c:v>
                </c:pt>
                <c:pt idx="264">
                  <c:v>729</c:v>
                </c:pt>
                <c:pt idx="265">
                  <c:v>733</c:v>
                </c:pt>
                <c:pt idx="266">
                  <c:v>737</c:v>
                </c:pt>
                <c:pt idx="267">
                  <c:v>740</c:v>
                </c:pt>
                <c:pt idx="268">
                  <c:v>742</c:v>
                </c:pt>
                <c:pt idx="269">
                  <c:v>743</c:v>
                </c:pt>
                <c:pt idx="270">
                  <c:v>744</c:v>
                </c:pt>
                <c:pt idx="271">
                  <c:v>745</c:v>
                </c:pt>
                <c:pt idx="272">
                  <c:v>746</c:v>
                </c:pt>
                <c:pt idx="273">
                  <c:v>746</c:v>
                </c:pt>
                <c:pt idx="274">
                  <c:v>747</c:v>
                </c:pt>
                <c:pt idx="275">
                  <c:v>747</c:v>
                </c:pt>
                <c:pt idx="276">
                  <c:v>748</c:v>
                </c:pt>
                <c:pt idx="277">
                  <c:v>749</c:v>
                </c:pt>
                <c:pt idx="278">
                  <c:v>749</c:v>
                </c:pt>
                <c:pt idx="279">
                  <c:v>750</c:v>
                </c:pt>
                <c:pt idx="280">
                  <c:v>751</c:v>
                </c:pt>
                <c:pt idx="281">
                  <c:v>752</c:v>
                </c:pt>
                <c:pt idx="282">
                  <c:v>753</c:v>
                </c:pt>
                <c:pt idx="283">
                  <c:v>753</c:v>
                </c:pt>
                <c:pt idx="284">
                  <c:v>755</c:v>
                </c:pt>
                <c:pt idx="285">
                  <c:v>755</c:v>
                </c:pt>
                <c:pt idx="286">
                  <c:v>757</c:v>
                </c:pt>
                <c:pt idx="287">
                  <c:v>758</c:v>
                </c:pt>
                <c:pt idx="288">
                  <c:v>760</c:v>
                </c:pt>
                <c:pt idx="289">
                  <c:v>761</c:v>
                </c:pt>
                <c:pt idx="290">
                  <c:v>762</c:v>
                </c:pt>
                <c:pt idx="291">
                  <c:v>764</c:v>
                </c:pt>
                <c:pt idx="292">
                  <c:v>765</c:v>
                </c:pt>
                <c:pt idx="293">
                  <c:v>766</c:v>
                </c:pt>
                <c:pt idx="294">
                  <c:v>767</c:v>
                </c:pt>
                <c:pt idx="295">
                  <c:v>768</c:v>
                </c:pt>
                <c:pt idx="296">
                  <c:v>768</c:v>
                </c:pt>
                <c:pt idx="297">
                  <c:v>769</c:v>
                </c:pt>
                <c:pt idx="298">
                  <c:v>770</c:v>
                </c:pt>
                <c:pt idx="299">
                  <c:v>770</c:v>
                </c:pt>
                <c:pt idx="300">
                  <c:v>771</c:v>
                </c:pt>
                <c:pt idx="301">
                  <c:v>771</c:v>
                </c:pt>
                <c:pt idx="302">
                  <c:v>772</c:v>
                </c:pt>
                <c:pt idx="303">
                  <c:v>773</c:v>
                </c:pt>
                <c:pt idx="304">
                  <c:v>773</c:v>
                </c:pt>
                <c:pt idx="305">
                  <c:v>774</c:v>
                </c:pt>
                <c:pt idx="306">
                  <c:v>775</c:v>
                </c:pt>
                <c:pt idx="307">
                  <c:v>775</c:v>
                </c:pt>
                <c:pt idx="308">
                  <c:v>776</c:v>
                </c:pt>
                <c:pt idx="309">
                  <c:v>777</c:v>
                </c:pt>
                <c:pt idx="310">
                  <c:v>778</c:v>
                </c:pt>
                <c:pt idx="311">
                  <c:v>778</c:v>
                </c:pt>
                <c:pt idx="312">
                  <c:v>776</c:v>
                </c:pt>
                <c:pt idx="313">
                  <c:v>777</c:v>
                </c:pt>
                <c:pt idx="314">
                  <c:v>777</c:v>
                </c:pt>
                <c:pt idx="315">
                  <c:v>778</c:v>
                </c:pt>
                <c:pt idx="316">
                  <c:v>779</c:v>
                </c:pt>
                <c:pt idx="317">
                  <c:v>779</c:v>
                </c:pt>
                <c:pt idx="318">
                  <c:v>780</c:v>
                </c:pt>
                <c:pt idx="319">
                  <c:v>780</c:v>
                </c:pt>
                <c:pt idx="320">
                  <c:v>780</c:v>
                </c:pt>
                <c:pt idx="321">
                  <c:v>780</c:v>
                </c:pt>
                <c:pt idx="322">
                  <c:v>781</c:v>
                </c:pt>
                <c:pt idx="323">
                  <c:v>781</c:v>
                </c:pt>
                <c:pt idx="324">
                  <c:v>781</c:v>
                </c:pt>
                <c:pt idx="325">
                  <c:v>782</c:v>
                </c:pt>
                <c:pt idx="326">
                  <c:v>782</c:v>
                </c:pt>
                <c:pt idx="327">
                  <c:v>782</c:v>
                </c:pt>
                <c:pt idx="328">
                  <c:v>782</c:v>
                </c:pt>
                <c:pt idx="329">
                  <c:v>783</c:v>
                </c:pt>
                <c:pt idx="330">
                  <c:v>783</c:v>
                </c:pt>
                <c:pt idx="331">
                  <c:v>784</c:v>
                </c:pt>
                <c:pt idx="332">
                  <c:v>785</c:v>
                </c:pt>
                <c:pt idx="333">
                  <c:v>786</c:v>
                </c:pt>
                <c:pt idx="334">
                  <c:v>787</c:v>
                </c:pt>
                <c:pt idx="335">
                  <c:v>789</c:v>
                </c:pt>
                <c:pt idx="336">
                  <c:v>790</c:v>
                </c:pt>
                <c:pt idx="337">
                  <c:v>787</c:v>
                </c:pt>
                <c:pt idx="338">
                  <c:v>786</c:v>
                </c:pt>
                <c:pt idx="339">
                  <c:v>788</c:v>
                </c:pt>
                <c:pt idx="340">
                  <c:v>790</c:v>
                </c:pt>
                <c:pt idx="341">
                  <c:v>793</c:v>
                </c:pt>
                <c:pt idx="342">
                  <c:v>795</c:v>
                </c:pt>
                <c:pt idx="343">
                  <c:v>797</c:v>
                </c:pt>
                <c:pt idx="344">
                  <c:v>798</c:v>
                </c:pt>
                <c:pt idx="345">
                  <c:v>798</c:v>
                </c:pt>
                <c:pt idx="346">
                  <c:v>799</c:v>
                </c:pt>
                <c:pt idx="347">
                  <c:v>799</c:v>
                </c:pt>
                <c:pt idx="348">
                  <c:v>800</c:v>
                </c:pt>
                <c:pt idx="349">
                  <c:v>800</c:v>
                </c:pt>
                <c:pt idx="350">
                  <c:v>800</c:v>
                </c:pt>
                <c:pt idx="351">
                  <c:v>800</c:v>
                </c:pt>
                <c:pt idx="352">
                  <c:v>800</c:v>
                </c:pt>
                <c:pt idx="353">
                  <c:v>800</c:v>
                </c:pt>
                <c:pt idx="354">
                  <c:v>801</c:v>
                </c:pt>
                <c:pt idx="355">
                  <c:v>801</c:v>
                </c:pt>
                <c:pt idx="356">
                  <c:v>800</c:v>
                </c:pt>
                <c:pt idx="357">
                  <c:v>800</c:v>
                </c:pt>
                <c:pt idx="358">
                  <c:v>800</c:v>
                </c:pt>
                <c:pt idx="359">
                  <c:v>816</c:v>
                </c:pt>
                <c:pt idx="360">
                  <c:v>821</c:v>
                </c:pt>
                <c:pt idx="361">
                  <c:v>824</c:v>
                </c:pt>
                <c:pt idx="362">
                  <c:v>827</c:v>
                </c:pt>
                <c:pt idx="363">
                  <c:v>829</c:v>
                </c:pt>
                <c:pt idx="364">
                  <c:v>833</c:v>
                </c:pt>
                <c:pt idx="365">
                  <c:v>837</c:v>
                </c:pt>
                <c:pt idx="366">
                  <c:v>839</c:v>
                </c:pt>
                <c:pt idx="367">
                  <c:v>841</c:v>
                </c:pt>
                <c:pt idx="368">
                  <c:v>843</c:v>
                </c:pt>
                <c:pt idx="369">
                  <c:v>844</c:v>
                </c:pt>
                <c:pt idx="370">
                  <c:v>845</c:v>
                </c:pt>
                <c:pt idx="371">
                  <c:v>846</c:v>
                </c:pt>
                <c:pt idx="372">
                  <c:v>847</c:v>
                </c:pt>
                <c:pt idx="373">
                  <c:v>847</c:v>
                </c:pt>
                <c:pt idx="374">
                  <c:v>848</c:v>
                </c:pt>
                <c:pt idx="375">
                  <c:v>848</c:v>
                </c:pt>
                <c:pt idx="376">
                  <c:v>849</c:v>
                </c:pt>
                <c:pt idx="377">
                  <c:v>849</c:v>
                </c:pt>
                <c:pt idx="378">
                  <c:v>850</c:v>
                </c:pt>
                <c:pt idx="379">
                  <c:v>850</c:v>
                </c:pt>
                <c:pt idx="380">
                  <c:v>850</c:v>
                </c:pt>
                <c:pt idx="381">
                  <c:v>852</c:v>
                </c:pt>
                <c:pt idx="382">
                  <c:v>853</c:v>
                </c:pt>
                <c:pt idx="383">
                  <c:v>853</c:v>
                </c:pt>
                <c:pt idx="384">
                  <c:v>856</c:v>
                </c:pt>
                <c:pt idx="385">
                  <c:v>859</c:v>
                </c:pt>
                <c:pt idx="386">
                  <c:v>863</c:v>
                </c:pt>
                <c:pt idx="387">
                  <c:v>863</c:v>
                </c:pt>
                <c:pt idx="388">
                  <c:v>863</c:v>
                </c:pt>
                <c:pt idx="389">
                  <c:v>862</c:v>
                </c:pt>
                <c:pt idx="390">
                  <c:v>862</c:v>
                </c:pt>
                <c:pt idx="391">
                  <c:v>861</c:v>
                </c:pt>
                <c:pt idx="392">
                  <c:v>861</c:v>
                </c:pt>
                <c:pt idx="393">
                  <c:v>861</c:v>
                </c:pt>
                <c:pt idx="394">
                  <c:v>860</c:v>
                </c:pt>
                <c:pt idx="395">
                  <c:v>860</c:v>
                </c:pt>
                <c:pt idx="396">
                  <c:v>860</c:v>
                </c:pt>
                <c:pt idx="397">
                  <c:v>860</c:v>
                </c:pt>
                <c:pt idx="398">
                  <c:v>859</c:v>
                </c:pt>
                <c:pt idx="399">
                  <c:v>860</c:v>
                </c:pt>
                <c:pt idx="400">
                  <c:v>860</c:v>
                </c:pt>
                <c:pt idx="401">
                  <c:v>860</c:v>
                </c:pt>
                <c:pt idx="402">
                  <c:v>861</c:v>
                </c:pt>
                <c:pt idx="403">
                  <c:v>862</c:v>
                </c:pt>
                <c:pt idx="404">
                  <c:v>862</c:v>
                </c:pt>
                <c:pt idx="405">
                  <c:v>864</c:v>
                </c:pt>
                <c:pt idx="406">
                  <c:v>862</c:v>
                </c:pt>
                <c:pt idx="407">
                  <c:v>869</c:v>
                </c:pt>
                <c:pt idx="408">
                  <c:v>876</c:v>
                </c:pt>
                <c:pt idx="409">
                  <c:v>881</c:v>
                </c:pt>
                <c:pt idx="410">
                  <c:v>887</c:v>
                </c:pt>
                <c:pt idx="411">
                  <c:v>891</c:v>
                </c:pt>
                <c:pt idx="412">
                  <c:v>895</c:v>
                </c:pt>
                <c:pt idx="413">
                  <c:v>898</c:v>
                </c:pt>
                <c:pt idx="414">
                  <c:v>901</c:v>
                </c:pt>
                <c:pt idx="415">
                  <c:v>903</c:v>
                </c:pt>
                <c:pt idx="416">
                  <c:v>905</c:v>
                </c:pt>
                <c:pt idx="417">
                  <c:v>907</c:v>
                </c:pt>
                <c:pt idx="418">
                  <c:v>909</c:v>
                </c:pt>
                <c:pt idx="419">
                  <c:v>910</c:v>
                </c:pt>
                <c:pt idx="420">
                  <c:v>911</c:v>
                </c:pt>
                <c:pt idx="421">
                  <c:v>912</c:v>
                </c:pt>
                <c:pt idx="422">
                  <c:v>913</c:v>
                </c:pt>
                <c:pt idx="423">
                  <c:v>914</c:v>
                </c:pt>
                <c:pt idx="424">
                  <c:v>915</c:v>
                </c:pt>
                <c:pt idx="425">
                  <c:v>916</c:v>
                </c:pt>
                <c:pt idx="426">
                  <c:v>917</c:v>
                </c:pt>
                <c:pt idx="427">
                  <c:v>918</c:v>
                </c:pt>
                <c:pt idx="428">
                  <c:v>919</c:v>
                </c:pt>
                <c:pt idx="429">
                  <c:v>921</c:v>
                </c:pt>
                <c:pt idx="430">
                  <c:v>922</c:v>
                </c:pt>
                <c:pt idx="431">
                  <c:v>925</c:v>
                </c:pt>
                <c:pt idx="432">
                  <c:v>927</c:v>
                </c:pt>
                <c:pt idx="433">
                  <c:v>930</c:v>
                </c:pt>
                <c:pt idx="434">
                  <c:v>932</c:v>
                </c:pt>
                <c:pt idx="435">
                  <c:v>935</c:v>
                </c:pt>
                <c:pt idx="436">
                  <c:v>937</c:v>
                </c:pt>
                <c:pt idx="437">
                  <c:v>938</c:v>
                </c:pt>
                <c:pt idx="438">
                  <c:v>939</c:v>
                </c:pt>
                <c:pt idx="439">
                  <c:v>941</c:v>
                </c:pt>
                <c:pt idx="440">
                  <c:v>941</c:v>
                </c:pt>
                <c:pt idx="441">
                  <c:v>942</c:v>
                </c:pt>
                <c:pt idx="442">
                  <c:v>943</c:v>
                </c:pt>
                <c:pt idx="443">
                  <c:v>943</c:v>
                </c:pt>
                <c:pt idx="444">
                  <c:v>944</c:v>
                </c:pt>
                <c:pt idx="445">
                  <c:v>944</c:v>
                </c:pt>
                <c:pt idx="446">
                  <c:v>945</c:v>
                </c:pt>
                <c:pt idx="447">
                  <c:v>946</c:v>
                </c:pt>
                <c:pt idx="448">
                  <c:v>947</c:v>
                </c:pt>
                <c:pt idx="449">
                  <c:v>947</c:v>
                </c:pt>
                <c:pt idx="450">
                  <c:v>948</c:v>
                </c:pt>
                <c:pt idx="451">
                  <c:v>950</c:v>
                </c:pt>
                <c:pt idx="452">
                  <c:v>951</c:v>
                </c:pt>
                <c:pt idx="453">
                  <c:v>953</c:v>
                </c:pt>
                <c:pt idx="454">
                  <c:v>955</c:v>
                </c:pt>
                <c:pt idx="455">
                  <c:v>957</c:v>
                </c:pt>
                <c:pt idx="456">
                  <c:v>958</c:v>
                </c:pt>
                <c:pt idx="457">
                  <c:v>961</c:v>
                </c:pt>
                <c:pt idx="458">
                  <c:v>964</c:v>
                </c:pt>
                <c:pt idx="459">
                  <c:v>966</c:v>
                </c:pt>
                <c:pt idx="460">
                  <c:v>968</c:v>
                </c:pt>
                <c:pt idx="461">
                  <c:v>969</c:v>
                </c:pt>
                <c:pt idx="462">
                  <c:v>970</c:v>
                </c:pt>
                <c:pt idx="463">
                  <c:v>972</c:v>
                </c:pt>
                <c:pt idx="464">
                  <c:v>972</c:v>
                </c:pt>
                <c:pt idx="465">
                  <c:v>973</c:v>
                </c:pt>
                <c:pt idx="466">
                  <c:v>974</c:v>
                </c:pt>
                <c:pt idx="467">
                  <c:v>975</c:v>
                </c:pt>
                <c:pt idx="468">
                  <c:v>976</c:v>
                </c:pt>
                <c:pt idx="469">
                  <c:v>976</c:v>
                </c:pt>
                <c:pt idx="470">
                  <c:v>977</c:v>
                </c:pt>
                <c:pt idx="471">
                  <c:v>978</c:v>
                </c:pt>
                <c:pt idx="472">
                  <c:v>978</c:v>
                </c:pt>
                <c:pt idx="473">
                  <c:v>979</c:v>
                </c:pt>
                <c:pt idx="474">
                  <c:v>980</c:v>
                </c:pt>
                <c:pt idx="475">
                  <c:v>982</c:v>
                </c:pt>
                <c:pt idx="476">
                  <c:v>983</c:v>
                </c:pt>
                <c:pt idx="477">
                  <c:v>985</c:v>
                </c:pt>
                <c:pt idx="478">
                  <c:v>987</c:v>
                </c:pt>
                <c:pt idx="479">
                  <c:v>989</c:v>
                </c:pt>
                <c:pt idx="480">
                  <c:v>990</c:v>
                </c:pt>
                <c:pt idx="481">
                  <c:v>992</c:v>
                </c:pt>
                <c:pt idx="482">
                  <c:v>993</c:v>
                </c:pt>
                <c:pt idx="483">
                  <c:v>994</c:v>
                </c:pt>
                <c:pt idx="484">
                  <c:v>995</c:v>
                </c:pt>
                <c:pt idx="485">
                  <c:v>996</c:v>
                </c:pt>
                <c:pt idx="486">
                  <c:v>997</c:v>
                </c:pt>
                <c:pt idx="487">
                  <c:v>997</c:v>
                </c:pt>
                <c:pt idx="488">
                  <c:v>998</c:v>
                </c:pt>
                <c:pt idx="489">
                  <c:v>999</c:v>
                </c:pt>
                <c:pt idx="490">
                  <c:v>999</c:v>
                </c:pt>
                <c:pt idx="491">
                  <c:v>1000</c:v>
                </c:pt>
                <c:pt idx="492">
                  <c:v>1001</c:v>
                </c:pt>
                <c:pt idx="493">
                  <c:v>1001</c:v>
                </c:pt>
                <c:pt idx="494">
                  <c:v>1002</c:v>
                </c:pt>
                <c:pt idx="495">
                  <c:v>1002</c:v>
                </c:pt>
                <c:pt idx="496">
                  <c:v>1003</c:v>
                </c:pt>
                <c:pt idx="497">
                  <c:v>1004</c:v>
                </c:pt>
                <c:pt idx="498">
                  <c:v>1004</c:v>
                </c:pt>
                <c:pt idx="499">
                  <c:v>1005</c:v>
                </c:pt>
                <c:pt idx="500">
                  <c:v>1006</c:v>
                </c:pt>
                <c:pt idx="501">
                  <c:v>1006</c:v>
                </c:pt>
                <c:pt idx="502">
                  <c:v>1008</c:v>
                </c:pt>
                <c:pt idx="503">
                  <c:v>1010</c:v>
                </c:pt>
                <c:pt idx="504">
                  <c:v>1053</c:v>
                </c:pt>
                <c:pt idx="505">
                  <c:v>1056</c:v>
                </c:pt>
                <c:pt idx="506">
                  <c:v>1059</c:v>
                </c:pt>
                <c:pt idx="507">
                  <c:v>1061</c:v>
                </c:pt>
                <c:pt idx="508">
                  <c:v>1063</c:v>
                </c:pt>
                <c:pt idx="509">
                  <c:v>1063</c:v>
                </c:pt>
                <c:pt idx="510">
                  <c:v>1064</c:v>
                </c:pt>
                <c:pt idx="511">
                  <c:v>1064</c:v>
                </c:pt>
                <c:pt idx="512">
                  <c:v>1065</c:v>
                </c:pt>
                <c:pt idx="513">
                  <c:v>1065</c:v>
                </c:pt>
                <c:pt idx="514">
                  <c:v>1065</c:v>
                </c:pt>
                <c:pt idx="515">
                  <c:v>1066</c:v>
                </c:pt>
                <c:pt idx="516">
                  <c:v>1066</c:v>
                </c:pt>
                <c:pt idx="517">
                  <c:v>1067</c:v>
                </c:pt>
                <c:pt idx="518">
                  <c:v>1067</c:v>
                </c:pt>
                <c:pt idx="519">
                  <c:v>1067</c:v>
                </c:pt>
                <c:pt idx="520">
                  <c:v>1068</c:v>
                </c:pt>
                <c:pt idx="521">
                  <c:v>1068</c:v>
                </c:pt>
                <c:pt idx="522">
                  <c:v>1069</c:v>
                </c:pt>
                <c:pt idx="523">
                  <c:v>1069</c:v>
                </c:pt>
                <c:pt idx="524">
                  <c:v>1071</c:v>
                </c:pt>
                <c:pt idx="525">
                  <c:v>1073</c:v>
                </c:pt>
                <c:pt idx="526">
                  <c:v>1077</c:v>
                </c:pt>
                <c:pt idx="527">
                  <c:v>1080</c:v>
                </c:pt>
                <c:pt idx="528">
                  <c:v>1082</c:v>
                </c:pt>
                <c:pt idx="529">
                  <c:v>1085</c:v>
                </c:pt>
                <c:pt idx="530">
                  <c:v>1088</c:v>
                </c:pt>
                <c:pt idx="531">
                  <c:v>1091</c:v>
                </c:pt>
                <c:pt idx="532">
                  <c:v>1092</c:v>
                </c:pt>
                <c:pt idx="533">
                  <c:v>1093</c:v>
                </c:pt>
                <c:pt idx="534">
                  <c:v>1094</c:v>
                </c:pt>
                <c:pt idx="535">
                  <c:v>1095</c:v>
                </c:pt>
                <c:pt idx="536">
                  <c:v>1096</c:v>
                </c:pt>
                <c:pt idx="537">
                  <c:v>1097</c:v>
                </c:pt>
                <c:pt idx="538">
                  <c:v>1097</c:v>
                </c:pt>
                <c:pt idx="539">
                  <c:v>1098</c:v>
                </c:pt>
                <c:pt idx="540">
                  <c:v>1099</c:v>
                </c:pt>
                <c:pt idx="541">
                  <c:v>1100</c:v>
                </c:pt>
                <c:pt idx="542">
                  <c:v>1100</c:v>
                </c:pt>
                <c:pt idx="543">
                  <c:v>1101</c:v>
                </c:pt>
                <c:pt idx="544">
                  <c:v>1102</c:v>
                </c:pt>
                <c:pt idx="545">
                  <c:v>1103</c:v>
                </c:pt>
                <c:pt idx="546">
                  <c:v>1103</c:v>
                </c:pt>
                <c:pt idx="547">
                  <c:v>1103</c:v>
                </c:pt>
                <c:pt idx="548">
                  <c:v>1104</c:v>
                </c:pt>
                <c:pt idx="549">
                  <c:v>1106</c:v>
                </c:pt>
                <c:pt idx="550">
                  <c:v>1106</c:v>
                </c:pt>
                <c:pt idx="551">
                  <c:v>1107</c:v>
                </c:pt>
                <c:pt idx="552">
                  <c:v>1106</c:v>
                </c:pt>
                <c:pt idx="553">
                  <c:v>1108</c:v>
                </c:pt>
                <c:pt idx="554">
                  <c:v>1108</c:v>
                </c:pt>
                <c:pt idx="555">
                  <c:v>1109</c:v>
                </c:pt>
                <c:pt idx="556">
                  <c:v>1107</c:v>
                </c:pt>
                <c:pt idx="557">
                  <c:v>1108</c:v>
                </c:pt>
                <c:pt idx="558">
                  <c:v>1109</c:v>
                </c:pt>
                <c:pt idx="559">
                  <c:v>1110</c:v>
                </c:pt>
                <c:pt idx="560">
                  <c:v>1111</c:v>
                </c:pt>
                <c:pt idx="561">
                  <c:v>1112</c:v>
                </c:pt>
                <c:pt idx="562">
                  <c:v>1113</c:v>
                </c:pt>
                <c:pt idx="563">
                  <c:v>1114</c:v>
                </c:pt>
                <c:pt idx="564">
                  <c:v>1116</c:v>
                </c:pt>
                <c:pt idx="565">
                  <c:v>1117</c:v>
                </c:pt>
                <c:pt idx="566">
                  <c:v>1118</c:v>
                </c:pt>
                <c:pt idx="567">
                  <c:v>1118</c:v>
                </c:pt>
                <c:pt idx="568">
                  <c:v>1119</c:v>
                </c:pt>
                <c:pt idx="569">
                  <c:v>1120</c:v>
                </c:pt>
                <c:pt idx="570">
                  <c:v>1121</c:v>
                </c:pt>
                <c:pt idx="571">
                  <c:v>1122</c:v>
                </c:pt>
                <c:pt idx="572">
                  <c:v>1123</c:v>
                </c:pt>
                <c:pt idx="573">
                  <c:v>1125</c:v>
                </c:pt>
                <c:pt idx="574">
                  <c:v>1126</c:v>
                </c:pt>
                <c:pt idx="575">
                  <c:v>1128</c:v>
                </c:pt>
                <c:pt idx="576">
                  <c:v>1130</c:v>
                </c:pt>
                <c:pt idx="577">
                  <c:v>1133</c:v>
                </c:pt>
                <c:pt idx="578">
                  <c:v>1136</c:v>
                </c:pt>
                <c:pt idx="579">
                  <c:v>1139</c:v>
                </c:pt>
                <c:pt idx="580">
                  <c:v>1141</c:v>
                </c:pt>
                <c:pt idx="581">
                  <c:v>1143</c:v>
                </c:pt>
                <c:pt idx="582">
                  <c:v>1144</c:v>
                </c:pt>
                <c:pt idx="583">
                  <c:v>1145</c:v>
                </c:pt>
                <c:pt idx="584">
                  <c:v>1146</c:v>
                </c:pt>
                <c:pt idx="585">
                  <c:v>1147</c:v>
                </c:pt>
                <c:pt idx="586">
                  <c:v>1147</c:v>
                </c:pt>
                <c:pt idx="587">
                  <c:v>1148</c:v>
                </c:pt>
                <c:pt idx="588">
                  <c:v>1149</c:v>
                </c:pt>
                <c:pt idx="589">
                  <c:v>1150</c:v>
                </c:pt>
                <c:pt idx="590">
                  <c:v>1151</c:v>
                </c:pt>
                <c:pt idx="591">
                  <c:v>1151</c:v>
                </c:pt>
                <c:pt idx="592">
                  <c:v>1152</c:v>
                </c:pt>
                <c:pt idx="593">
                  <c:v>1153</c:v>
                </c:pt>
                <c:pt idx="594">
                  <c:v>1154</c:v>
                </c:pt>
                <c:pt idx="595">
                  <c:v>1155</c:v>
                </c:pt>
                <c:pt idx="596">
                  <c:v>1156</c:v>
                </c:pt>
                <c:pt idx="597">
                  <c:v>1158</c:v>
                </c:pt>
                <c:pt idx="598">
                  <c:v>1159</c:v>
                </c:pt>
                <c:pt idx="599">
                  <c:v>1161</c:v>
                </c:pt>
                <c:pt idx="600">
                  <c:v>1161</c:v>
                </c:pt>
                <c:pt idx="601">
                  <c:v>1164</c:v>
                </c:pt>
                <c:pt idx="602">
                  <c:v>1167</c:v>
                </c:pt>
                <c:pt idx="603">
                  <c:v>1169</c:v>
                </c:pt>
                <c:pt idx="604">
                  <c:v>1171</c:v>
                </c:pt>
                <c:pt idx="605">
                  <c:v>1172</c:v>
                </c:pt>
                <c:pt idx="606">
                  <c:v>1174</c:v>
                </c:pt>
                <c:pt idx="607">
                  <c:v>1175</c:v>
                </c:pt>
                <c:pt idx="608">
                  <c:v>1176</c:v>
                </c:pt>
                <c:pt idx="609">
                  <c:v>1177</c:v>
                </c:pt>
                <c:pt idx="610">
                  <c:v>1179</c:v>
                </c:pt>
                <c:pt idx="611">
                  <c:v>1180</c:v>
                </c:pt>
                <c:pt idx="612">
                  <c:v>1181</c:v>
                </c:pt>
                <c:pt idx="613">
                  <c:v>1182</c:v>
                </c:pt>
                <c:pt idx="614">
                  <c:v>1183</c:v>
                </c:pt>
                <c:pt idx="615">
                  <c:v>1185</c:v>
                </c:pt>
                <c:pt idx="616">
                  <c:v>1186</c:v>
                </c:pt>
                <c:pt idx="617">
                  <c:v>1187</c:v>
                </c:pt>
                <c:pt idx="618">
                  <c:v>1188</c:v>
                </c:pt>
                <c:pt idx="619">
                  <c:v>1190</c:v>
                </c:pt>
                <c:pt idx="620">
                  <c:v>1191</c:v>
                </c:pt>
                <c:pt idx="621">
                  <c:v>1193</c:v>
                </c:pt>
                <c:pt idx="622">
                  <c:v>1195</c:v>
                </c:pt>
                <c:pt idx="623">
                  <c:v>1197</c:v>
                </c:pt>
                <c:pt idx="624">
                  <c:v>1199</c:v>
                </c:pt>
                <c:pt idx="625">
                  <c:v>1201</c:v>
                </c:pt>
                <c:pt idx="626">
                  <c:v>1203</c:v>
                </c:pt>
                <c:pt idx="627">
                  <c:v>1205</c:v>
                </c:pt>
                <c:pt idx="628">
                  <c:v>1206</c:v>
                </c:pt>
                <c:pt idx="629">
                  <c:v>1208</c:v>
                </c:pt>
                <c:pt idx="630">
                  <c:v>1210</c:v>
                </c:pt>
                <c:pt idx="631">
                  <c:v>1211</c:v>
                </c:pt>
                <c:pt idx="632">
                  <c:v>1212</c:v>
                </c:pt>
                <c:pt idx="633">
                  <c:v>1213</c:v>
                </c:pt>
                <c:pt idx="634">
                  <c:v>1214</c:v>
                </c:pt>
                <c:pt idx="635">
                  <c:v>1215</c:v>
                </c:pt>
                <c:pt idx="636">
                  <c:v>1217</c:v>
                </c:pt>
                <c:pt idx="637">
                  <c:v>1218</c:v>
                </c:pt>
                <c:pt idx="638">
                  <c:v>1219</c:v>
                </c:pt>
                <c:pt idx="639">
                  <c:v>1220</c:v>
                </c:pt>
                <c:pt idx="640">
                  <c:v>1221</c:v>
                </c:pt>
                <c:pt idx="641">
                  <c:v>1222</c:v>
                </c:pt>
                <c:pt idx="642">
                  <c:v>1223</c:v>
                </c:pt>
                <c:pt idx="643">
                  <c:v>1224</c:v>
                </c:pt>
                <c:pt idx="644">
                  <c:v>1226</c:v>
                </c:pt>
                <c:pt idx="645">
                  <c:v>1228</c:v>
                </c:pt>
                <c:pt idx="646">
                  <c:v>1230</c:v>
                </c:pt>
                <c:pt idx="647">
                  <c:v>1232</c:v>
                </c:pt>
                <c:pt idx="648">
                  <c:v>1235</c:v>
                </c:pt>
                <c:pt idx="649">
                  <c:v>1237</c:v>
                </c:pt>
                <c:pt idx="650">
                  <c:v>1240</c:v>
                </c:pt>
                <c:pt idx="651">
                  <c:v>1242</c:v>
                </c:pt>
                <c:pt idx="652">
                  <c:v>1244</c:v>
                </c:pt>
                <c:pt idx="653">
                  <c:v>1245</c:v>
                </c:pt>
                <c:pt idx="654">
                  <c:v>1246</c:v>
                </c:pt>
                <c:pt idx="655">
                  <c:v>1247</c:v>
                </c:pt>
                <c:pt idx="656">
                  <c:v>1248</c:v>
                </c:pt>
                <c:pt idx="657">
                  <c:v>1249</c:v>
                </c:pt>
                <c:pt idx="658">
                  <c:v>1249</c:v>
                </c:pt>
                <c:pt idx="659">
                  <c:v>1251</c:v>
                </c:pt>
                <c:pt idx="660">
                  <c:v>1251</c:v>
                </c:pt>
                <c:pt idx="661">
                  <c:v>1252</c:v>
                </c:pt>
                <c:pt idx="662">
                  <c:v>1253</c:v>
                </c:pt>
                <c:pt idx="663">
                  <c:v>1254</c:v>
                </c:pt>
                <c:pt idx="664">
                  <c:v>1255</c:v>
                </c:pt>
                <c:pt idx="665">
                  <c:v>1256</c:v>
                </c:pt>
                <c:pt idx="666">
                  <c:v>1257</c:v>
                </c:pt>
                <c:pt idx="667">
                  <c:v>1258</c:v>
                </c:pt>
                <c:pt idx="668">
                  <c:v>126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D509-074A-863F-CF82D10167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9191167"/>
        <c:axId val="1"/>
      </c:scatterChart>
      <c:valAx>
        <c:axId val="19919116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ime [days]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"/>
        <c:crosses val="autoZero"/>
        <c:crossBetween val="midCat"/>
      </c:val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essure [hPa]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91167"/>
        <c:crosses val="autoZero"/>
        <c:crossBetween val="midCat"/>
      </c:valAx>
      <c:spPr>
        <a:noFill/>
        <a:ln w="25400">
          <a:noFill/>
        </a:ln>
      </c:spPr>
    </c:plotArea>
    <c:legend>
      <c:legendPos val="r"/>
      <c:overlay val="0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parison Average</a:t>
            </a:r>
            <a:r>
              <a:rPr lang="en-US" baseline="0" dirty="0"/>
              <a:t> Stirred Vs. Unstirred Fermentation Residue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Average Stirred</c:v>
          </c:tx>
          <c:spPr>
            <a:ln w="3492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Volume Average Stirred vs unst.'!$A$5:$A$672</c:f>
              <c:numCache>
                <c:formatCode>0</c:formatCode>
                <c:ptCount val="668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</c:numCache>
            </c:numRef>
          </c:xVal>
          <c:yVal>
            <c:numRef>
              <c:f>'Volume Average Stirred vs unst.'!$E$7:$E$672</c:f>
              <c:numCache>
                <c:formatCode>General</c:formatCode>
                <c:ptCount val="666"/>
                <c:pt idx="0">
                  <c:v>3.1010279625621917E-2</c:v>
                </c:pt>
                <c:pt idx="1">
                  <c:v>5.059114930637499E-2</c:v>
                </c:pt>
                <c:pt idx="2">
                  <c:v>6.3126894910004505E-2</c:v>
                </c:pt>
                <c:pt idx="3">
                  <c:v>7.0449559422101404E-2</c:v>
                </c:pt>
                <c:pt idx="4">
                  <c:v>7.5714239453048851E-2</c:v>
                </c:pt>
                <c:pt idx="5">
                  <c:v>8.0201884300240098E-2</c:v>
                </c:pt>
                <c:pt idx="6">
                  <c:v>8.2675645319449223E-2</c:v>
                </c:pt>
                <c:pt idx="7">
                  <c:v>8.6140384297742345E-2</c:v>
                </c:pt>
                <c:pt idx="8">
                  <c:v>8.8109147997382564E-2</c:v>
                </c:pt>
                <c:pt idx="9">
                  <c:v>9.1062115387393464E-2</c:v>
                </c:pt>
                <c:pt idx="10">
                  <c:v>9.3020580254576213E-2</c:v>
                </c:pt>
                <c:pt idx="11">
                  <c:v>9.5464341427279886E-2</c:v>
                </c:pt>
                <c:pt idx="12">
                  <c:v>9.8158781513833018E-2</c:v>
                </c:pt>
                <c:pt idx="13">
                  <c:v>0.1008331944377291</c:v>
                </c:pt>
                <c:pt idx="14">
                  <c:v>0.10252846171969958</c:v>
                </c:pt>
                <c:pt idx="15">
                  <c:v>0.10470978834072808</c:v>
                </c:pt>
                <c:pt idx="16">
                  <c:v>0.10897748774370615</c:v>
                </c:pt>
                <c:pt idx="17">
                  <c:v>0.1203739901630595</c:v>
                </c:pt>
                <c:pt idx="18">
                  <c:v>0.1282797502126429</c:v>
                </c:pt>
                <c:pt idx="19">
                  <c:v>0.13371400329416228</c:v>
                </c:pt>
                <c:pt idx="20">
                  <c:v>0.14183784146731565</c:v>
                </c:pt>
                <c:pt idx="21">
                  <c:v>0.15079525468844793</c:v>
                </c:pt>
                <c:pt idx="22">
                  <c:v>0.15787306131233816</c:v>
                </c:pt>
                <c:pt idx="23">
                  <c:v>0.16342992153032926</c:v>
                </c:pt>
                <c:pt idx="24">
                  <c:v>0.16663467886732891</c:v>
                </c:pt>
                <c:pt idx="25">
                  <c:v>0.17155601719589075</c:v>
                </c:pt>
                <c:pt idx="26">
                  <c:v>0.175882793382001</c:v>
                </c:pt>
                <c:pt idx="27">
                  <c:v>0.17961130908984493</c:v>
                </c:pt>
                <c:pt idx="28">
                  <c:v>0.18246803959298555</c:v>
                </c:pt>
                <c:pt idx="29">
                  <c:v>0.18531527211118512</c:v>
                </c:pt>
                <c:pt idx="30">
                  <c:v>0.18758173882203522</c:v>
                </c:pt>
                <c:pt idx="31">
                  <c:v>0.18985527998867288</c:v>
                </c:pt>
                <c:pt idx="32">
                  <c:v>0.19155295337338954</c:v>
                </c:pt>
                <c:pt idx="33">
                  <c:v>0.19324758938141254</c:v>
                </c:pt>
                <c:pt idx="34">
                  <c:v>0.1949391988648348</c:v>
                </c:pt>
                <c:pt idx="35">
                  <c:v>0.19662779261767815</c:v>
                </c:pt>
                <c:pt idx="36">
                  <c:v>0.19831338137630672</c:v>
                </c:pt>
                <c:pt idx="37">
                  <c:v>0.19999597581983722</c:v>
                </c:pt>
                <c:pt idx="38">
                  <c:v>0.2013878243855444</c:v>
                </c:pt>
                <c:pt idx="39">
                  <c:v>0.20362834663588622</c:v>
                </c:pt>
                <c:pt idx="40">
                  <c:v>0.20585140907410729</c:v>
                </c:pt>
                <c:pt idx="41">
                  <c:v>0.20779471588630774</c:v>
                </c:pt>
                <c:pt idx="42">
                  <c:v>0.210853152746557</c:v>
                </c:pt>
                <c:pt idx="43">
                  <c:v>0.21417453055935262</c:v>
                </c:pt>
                <c:pt idx="44">
                  <c:v>0.21692848107283005</c:v>
                </c:pt>
                <c:pt idx="45">
                  <c:v>0.22187820543071091</c:v>
                </c:pt>
                <c:pt idx="46">
                  <c:v>0.22844352904041207</c:v>
                </c:pt>
                <c:pt idx="47">
                  <c:v>0.23549926100326765</c:v>
                </c:pt>
                <c:pt idx="48">
                  <c:v>0.24088476414338955</c:v>
                </c:pt>
                <c:pt idx="49">
                  <c:v>0.24194158359648502</c:v>
                </c:pt>
                <c:pt idx="50">
                  <c:v>0.24220533481125664</c:v>
                </c:pt>
                <c:pt idx="51">
                  <c:v>0.24273263950957324</c:v>
                </c:pt>
                <c:pt idx="52">
                  <c:v>0.24353551971977339</c:v>
                </c:pt>
                <c:pt idx="53">
                  <c:v>0.24353551971977339</c:v>
                </c:pt>
                <c:pt idx="54">
                  <c:v>0.24487682631826835</c:v>
                </c:pt>
                <c:pt idx="55">
                  <c:v>0.24540258838916226</c:v>
                </c:pt>
                <c:pt idx="56">
                  <c:v>0.2462032113140977</c:v>
                </c:pt>
                <c:pt idx="57">
                  <c:v>0.24700315802066589</c:v>
                </c:pt>
                <c:pt idx="58">
                  <c:v>0.24806465187280113</c:v>
                </c:pt>
                <c:pt idx="59">
                  <c:v>0.24912503936041688</c:v>
                </c:pt>
                <c:pt idx="60">
                  <c:v>0.25018410154456583</c:v>
                </c:pt>
                <c:pt idx="61">
                  <c:v>0.2512420549123982</c:v>
                </c:pt>
                <c:pt idx="62">
                  <c:v>0.25255961104889296</c:v>
                </c:pt>
                <c:pt idx="63">
                  <c:v>0.25388834814153177</c:v>
                </c:pt>
                <c:pt idx="64">
                  <c:v>0.25308196099074737</c:v>
                </c:pt>
                <c:pt idx="65">
                  <c:v>0.25334222433101067</c:v>
                </c:pt>
                <c:pt idx="66">
                  <c:v>0.25466988154627385</c:v>
                </c:pt>
                <c:pt idx="67">
                  <c:v>0.25678837548912531</c:v>
                </c:pt>
                <c:pt idx="68">
                  <c:v>0.25837053669212245</c:v>
                </c:pt>
                <c:pt idx="69">
                  <c:v>0.26020927600738192</c:v>
                </c:pt>
                <c:pt idx="70">
                  <c:v>0.26449966873248348</c:v>
                </c:pt>
                <c:pt idx="71">
                  <c:v>0.27374129123001922</c:v>
                </c:pt>
                <c:pt idx="72">
                  <c:v>0.27771397311274476</c:v>
                </c:pt>
                <c:pt idx="73">
                  <c:v>0.28227176334532106</c:v>
                </c:pt>
                <c:pt idx="74">
                  <c:v>0.28620103246080436</c:v>
                </c:pt>
                <c:pt idx="75">
                  <c:v>0.28921830563374235</c:v>
                </c:pt>
                <c:pt idx="76">
                  <c:v>0.29162341407876619</c:v>
                </c:pt>
                <c:pt idx="77">
                  <c:v>0.29371604932556067</c:v>
                </c:pt>
                <c:pt idx="78">
                  <c:v>0.29521344624728352</c:v>
                </c:pt>
                <c:pt idx="79">
                  <c:v>0.29669952480702289</c:v>
                </c:pt>
                <c:pt idx="80">
                  <c:v>0.29789644216958461</c:v>
                </c:pt>
                <c:pt idx="81">
                  <c:v>0.2990841988269875</c:v>
                </c:pt>
                <c:pt idx="82">
                  <c:v>0.29997544676216542</c:v>
                </c:pt>
                <c:pt idx="83">
                  <c:v>0.30146171037494268</c:v>
                </c:pt>
                <c:pt idx="84">
                  <c:v>0.3026450062760721</c:v>
                </c:pt>
                <c:pt idx="85">
                  <c:v>0.30353291284440326</c:v>
                </c:pt>
                <c:pt idx="86">
                  <c:v>0.30530706312057476</c:v>
                </c:pt>
                <c:pt idx="87">
                  <c:v>0.30619248006121347</c:v>
                </c:pt>
                <c:pt idx="88">
                  <c:v>0.30796166039066736</c:v>
                </c:pt>
                <c:pt idx="89">
                  <c:v>0.3097275428644129</c:v>
                </c:pt>
                <c:pt idx="90">
                  <c:v>0.31149013975566786</c:v>
                </c:pt>
                <c:pt idx="91">
                  <c:v>0.31500030164199705</c:v>
                </c:pt>
                <c:pt idx="92">
                  <c:v>0.31879590623596094</c:v>
                </c:pt>
                <c:pt idx="93">
                  <c:v>0.32170239564341302</c:v>
                </c:pt>
                <c:pt idx="94">
                  <c:v>0.32170350536348891</c:v>
                </c:pt>
                <c:pt idx="95">
                  <c:v>0.32461064657167571</c:v>
                </c:pt>
                <c:pt idx="96">
                  <c:v>0.32808098327498575</c:v>
                </c:pt>
                <c:pt idx="97">
                  <c:v>0.33125326983936598</c:v>
                </c:pt>
                <c:pt idx="98">
                  <c:v>0.33441500254009143</c:v>
                </c:pt>
                <c:pt idx="99">
                  <c:v>0.33613233020426936</c:v>
                </c:pt>
                <c:pt idx="100">
                  <c:v>0.33842057297940581</c:v>
                </c:pt>
                <c:pt idx="101">
                  <c:v>0.34013065685623106</c:v>
                </c:pt>
                <c:pt idx="102">
                  <c:v>0.34183765939099148</c:v>
                </c:pt>
                <c:pt idx="103">
                  <c:v>0.34354159166898496</c:v>
                </c:pt>
                <c:pt idx="104">
                  <c:v>0.34439202819238862</c:v>
                </c:pt>
                <c:pt idx="105">
                  <c:v>0.34609137573965104</c:v>
                </c:pt>
                <c:pt idx="106">
                  <c:v>0.34665919758162417</c:v>
                </c:pt>
                <c:pt idx="107">
                  <c:v>0.34778664853260466</c:v>
                </c:pt>
                <c:pt idx="108">
                  <c:v>0.34835397314647043</c:v>
                </c:pt>
                <c:pt idx="109">
                  <c:v>0.34920010069939544</c:v>
                </c:pt>
                <c:pt idx="110">
                  <c:v>0.34975874941338975</c:v>
                </c:pt>
                <c:pt idx="111">
                  <c:v>0.35089035046380052</c:v>
                </c:pt>
                <c:pt idx="112">
                  <c:v>0.35201278094964089</c:v>
                </c:pt>
                <c:pt idx="113">
                  <c:v>0.3531344983910773</c:v>
                </c:pt>
                <c:pt idx="114">
                  <c:v>0.3545398874593102</c:v>
                </c:pt>
                <c:pt idx="115">
                  <c:v>0.35678443107243046</c:v>
                </c:pt>
                <c:pt idx="116">
                  <c:v>0.35846170573706509</c:v>
                </c:pt>
                <c:pt idx="117">
                  <c:v>0.36041236634407375</c:v>
                </c:pt>
                <c:pt idx="118">
                  <c:v>0.36347070734843762</c:v>
                </c:pt>
                <c:pt idx="119">
                  <c:v>0.36596895692575188</c:v>
                </c:pt>
                <c:pt idx="120">
                  <c:v>0.36818589967338533</c:v>
                </c:pt>
                <c:pt idx="121">
                  <c:v>0.37039854025929436</c:v>
                </c:pt>
                <c:pt idx="122">
                  <c:v>0.37177151450433904</c:v>
                </c:pt>
                <c:pt idx="123">
                  <c:v>0.37314942415383107</c:v>
                </c:pt>
                <c:pt idx="124">
                  <c:v>0.37370192609372466</c:v>
                </c:pt>
                <c:pt idx="125">
                  <c:v>0.3745181141910407</c:v>
                </c:pt>
                <c:pt idx="126">
                  <c:v>0.37479752811045458</c:v>
                </c:pt>
                <c:pt idx="127">
                  <c:v>0.37562144212672766</c:v>
                </c:pt>
                <c:pt idx="128">
                  <c:v>0.37644300397824842</c:v>
                </c:pt>
                <c:pt idx="129">
                  <c:v>0.37698575850468946</c:v>
                </c:pt>
                <c:pt idx="130">
                  <c:v>0.37726443744667398</c:v>
                </c:pt>
                <c:pt idx="131">
                  <c:v>0.37781454392634678</c:v>
                </c:pt>
                <c:pt idx="132">
                  <c:v>0.37835659806575911</c:v>
                </c:pt>
                <c:pt idx="133">
                  <c:v>0.37890517073661939</c:v>
                </c:pt>
                <c:pt idx="134">
                  <c:v>0.37972447301898243</c:v>
                </c:pt>
                <c:pt idx="135">
                  <c:v>0.38082077232729561</c:v>
                </c:pt>
                <c:pt idx="136">
                  <c:v>0.3816308800259805</c:v>
                </c:pt>
                <c:pt idx="137">
                  <c:v>0.38271834154533152</c:v>
                </c:pt>
                <c:pt idx="138">
                  <c:v>0.38462735236921147</c:v>
                </c:pt>
                <c:pt idx="139">
                  <c:v>0.38652462256757919</c:v>
                </c:pt>
                <c:pt idx="140">
                  <c:v>0.38896285804184044</c:v>
                </c:pt>
                <c:pt idx="141">
                  <c:v>0.39085923686312557</c:v>
                </c:pt>
                <c:pt idx="142">
                  <c:v>0.39436337653159664</c:v>
                </c:pt>
                <c:pt idx="143">
                  <c:v>0.39705495387739204</c:v>
                </c:pt>
                <c:pt idx="144">
                  <c:v>0.39973138180116924</c:v>
                </c:pt>
                <c:pt idx="145">
                  <c:v>0.40213590446096997</c:v>
                </c:pt>
                <c:pt idx="146">
                  <c:v>0.40399971557053377</c:v>
                </c:pt>
                <c:pt idx="147">
                  <c:v>0.40585864473174543</c:v>
                </c:pt>
                <c:pt idx="148">
                  <c:v>0.406918744582901</c:v>
                </c:pt>
                <c:pt idx="149">
                  <c:v>0.40824743991852458</c:v>
                </c:pt>
                <c:pt idx="150">
                  <c:v>0.40930379254610844</c:v>
                </c:pt>
                <c:pt idx="151">
                  <c:v>0.40957302874545903</c:v>
                </c:pt>
                <c:pt idx="152">
                  <c:v>0.41089048852598475</c:v>
                </c:pt>
                <c:pt idx="153">
                  <c:v>0.41168262355029711</c:v>
                </c:pt>
                <c:pt idx="154">
                  <c:v>0.4122131825157811</c:v>
                </c:pt>
                <c:pt idx="155">
                  <c:v>0.41326512667488435</c:v>
                </c:pt>
                <c:pt idx="156">
                  <c:v>0.41405418724686843</c:v>
                </c:pt>
                <c:pt idx="157">
                  <c:v>0.41511308135591879</c:v>
                </c:pt>
                <c:pt idx="158">
                  <c:v>0.41616174034288561</c:v>
                </c:pt>
                <c:pt idx="159">
                  <c:v>0.41721040649068031</c:v>
                </c:pt>
                <c:pt idx="160">
                  <c:v>0.41879062777793569</c:v>
                </c:pt>
                <c:pt idx="161">
                  <c:v>0.42114729876508433</c:v>
                </c:pt>
                <c:pt idx="162">
                  <c:v>0.42297284407167152</c:v>
                </c:pt>
                <c:pt idx="163">
                  <c:v>0.42402013786521353</c:v>
                </c:pt>
                <c:pt idx="164">
                  <c:v>0.42635809787372225</c:v>
                </c:pt>
                <c:pt idx="165">
                  <c:v>0.42765857057588264</c:v>
                </c:pt>
                <c:pt idx="166">
                  <c:v>0.44052322257471505</c:v>
                </c:pt>
                <c:pt idx="167">
                  <c:v>0.4465560079241902</c:v>
                </c:pt>
                <c:pt idx="168">
                  <c:v>0.45168846279542657</c:v>
                </c:pt>
                <c:pt idx="169">
                  <c:v>0.4558988017010388</c:v>
                </c:pt>
                <c:pt idx="170">
                  <c:v>0.4591990217425776</c:v>
                </c:pt>
                <c:pt idx="171">
                  <c:v>0.46187984954566169</c:v>
                </c:pt>
                <c:pt idx="172">
                  <c:v>0.46396798124509564</c:v>
                </c:pt>
                <c:pt idx="173">
                  <c:v>0.46605131501539893</c:v>
                </c:pt>
                <c:pt idx="174">
                  <c:v>0.46783251834172351</c:v>
                </c:pt>
                <c:pt idx="175">
                  <c:v>0.4693135855463117</c:v>
                </c:pt>
                <c:pt idx="176">
                  <c:v>0.47048728709577903</c:v>
                </c:pt>
                <c:pt idx="177">
                  <c:v>0.47195561292041671</c:v>
                </c:pt>
                <c:pt idx="178">
                  <c:v>0.47284070203827649</c:v>
                </c:pt>
                <c:pt idx="179">
                  <c:v>0.4740289657919477</c:v>
                </c:pt>
                <c:pt idx="180">
                  <c:v>0.47520722560419443</c:v>
                </c:pt>
                <c:pt idx="181">
                  <c:v>0.47549158423314219</c:v>
                </c:pt>
                <c:pt idx="182">
                  <c:v>0.47637337603789787</c:v>
                </c:pt>
                <c:pt idx="183">
                  <c:v>0.47725434735205385</c:v>
                </c:pt>
                <c:pt idx="184">
                  <c:v>0.47812409082396373</c:v>
                </c:pt>
                <c:pt idx="185">
                  <c:v>0.47900344834006114</c:v>
                </c:pt>
                <c:pt idx="186">
                  <c:v>0.48047769679596514</c:v>
                </c:pt>
                <c:pt idx="187">
                  <c:v>0.48105345618184758</c:v>
                </c:pt>
                <c:pt idx="188">
                  <c:v>0.48280673559307408</c:v>
                </c:pt>
                <c:pt idx="189">
                  <c:v>0.48543179353240018</c:v>
                </c:pt>
                <c:pt idx="190">
                  <c:v>0.48775805474948575</c:v>
                </c:pt>
                <c:pt idx="191">
                  <c:v>0.49007031015578734</c:v>
                </c:pt>
                <c:pt idx="192">
                  <c:v>0.49210558568940871</c:v>
                </c:pt>
                <c:pt idx="193">
                  <c:v>0.4941176428312522</c:v>
                </c:pt>
                <c:pt idx="194">
                  <c:v>0.49584694892181774</c:v>
                </c:pt>
                <c:pt idx="195">
                  <c:v>0.49671002552986887</c:v>
                </c:pt>
                <c:pt idx="196">
                  <c:v>0.4975723160744403</c:v>
                </c:pt>
                <c:pt idx="197">
                  <c:v>0.49843382198705272</c:v>
                </c:pt>
                <c:pt idx="198">
                  <c:v>0.49871096276021104</c:v>
                </c:pt>
                <c:pt idx="199">
                  <c:v>0.49899874820082407</c:v>
                </c:pt>
                <c:pt idx="200">
                  <c:v>0.49985896416006542</c:v>
                </c:pt>
                <c:pt idx="201">
                  <c:v>0.50043114209593764</c:v>
                </c:pt>
                <c:pt idx="202">
                  <c:v>0.50073723123270886</c:v>
                </c:pt>
                <c:pt idx="203">
                  <c:v>0.50158551710985033</c:v>
                </c:pt>
                <c:pt idx="204">
                  <c:v>0.50214868470609153</c:v>
                </c:pt>
                <c:pt idx="205">
                  <c:v>0.50244338413430978</c:v>
                </c:pt>
                <c:pt idx="206">
                  <c:v>0.50300604812099492</c:v>
                </c:pt>
                <c:pt idx="207">
                  <c:v>0.503862635830571</c:v>
                </c:pt>
                <c:pt idx="208">
                  <c:v>0.50557426264578198</c:v>
                </c:pt>
                <c:pt idx="209">
                  <c:v>0.50613492117470915</c:v>
                </c:pt>
                <c:pt idx="210">
                  <c:v>0.50756772482810353</c:v>
                </c:pt>
                <c:pt idx="211">
                  <c:v>0.50954716386111232</c:v>
                </c:pt>
                <c:pt idx="212">
                  <c:v>0.51039786512348984</c:v>
                </c:pt>
                <c:pt idx="213">
                  <c:v>0.51238186794233165</c:v>
                </c:pt>
                <c:pt idx="214">
                  <c:v>0.51407818289505969</c:v>
                </c:pt>
                <c:pt idx="215">
                  <c:v>0.51549885674849916</c:v>
                </c:pt>
                <c:pt idx="216">
                  <c:v>0.51661659266395521</c:v>
                </c:pt>
                <c:pt idx="217">
                  <c:v>0.51830534332721534</c:v>
                </c:pt>
                <c:pt idx="218">
                  <c:v>0.51999108714334974</c:v>
                </c:pt>
                <c:pt idx="219">
                  <c:v>0.52112179491594501</c:v>
                </c:pt>
                <c:pt idx="220">
                  <c:v>0.52194409339979764</c:v>
                </c:pt>
                <c:pt idx="221">
                  <c:v>0.52280227141580748</c:v>
                </c:pt>
                <c:pt idx="222">
                  <c:v>0.52335286217737442</c:v>
                </c:pt>
                <c:pt idx="223">
                  <c:v>0.52391119613118808</c:v>
                </c:pt>
                <c:pt idx="224">
                  <c:v>0.52447927874541778</c:v>
                </c:pt>
                <c:pt idx="225">
                  <c:v>0.52502890764167687</c:v>
                </c:pt>
                <c:pt idx="226">
                  <c:v>0.52558625972308759</c:v>
                </c:pt>
                <c:pt idx="227">
                  <c:v>0.5261351796059599</c:v>
                </c:pt>
                <c:pt idx="228">
                  <c:v>0.52642268149047677</c:v>
                </c:pt>
                <c:pt idx="229">
                  <c:v>0.52725836498196654</c:v>
                </c:pt>
                <c:pt idx="230">
                  <c:v>0.52837237228227407</c:v>
                </c:pt>
                <c:pt idx="231">
                  <c:v>0.52837237228227407</c:v>
                </c:pt>
                <c:pt idx="232">
                  <c:v>0.52949305876459674</c:v>
                </c:pt>
                <c:pt idx="233">
                  <c:v>0.5308727929203102</c:v>
                </c:pt>
                <c:pt idx="234">
                  <c:v>0.53225850024779331</c:v>
                </c:pt>
                <c:pt idx="235">
                  <c:v>0.53391174339870828</c:v>
                </c:pt>
                <c:pt idx="236">
                  <c:v>0.53583704740182414</c:v>
                </c:pt>
                <c:pt idx="237">
                  <c:v>0.53805293473065785</c:v>
                </c:pt>
                <c:pt idx="238">
                  <c:v>0.54026344802354709</c:v>
                </c:pt>
                <c:pt idx="239">
                  <c:v>0.54217609307222514</c:v>
                </c:pt>
                <c:pt idx="240">
                  <c:v>0.54519064746943979</c:v>
                </c:pt>
                <c:pt idx="241">
                  <c:v>0.54654700570363302</c:v>
                </c:pt>
                <c:pt idx="242">
                  <c:v>0.5476465373194852</c:v>
                </c:pt>
                <c:pt idx="243">
                  <c:v>0.54846372115237063</c:v>
                </c:pt>
                <c:pt idx="244">
                  <c:v>0.54955293811340067</c:v>
                </c:pt>
                <c:pt idx="245">
                  <c:v>0.54954355013914413</c:v>
                </c:pt>
                <c:pt idx="246">
                  <c:v>0.5503689508059133</c:v>
                </c:pt>
                <c:pt idx="247">
                  <c:v>0.5514464447755133</c:v>
                </c:pt>
                <c:pt idx="248">
                  <c:v>0.55119233819693647</c:v>
                </c:pt>
                <c:pt idx="249">
                  <c:v>0.55226890375312565</c:v>
                </c:pt>
                <c:pt idx="250">
                  <c:v>0.55281248458971566</c:v>
                </c:pt>
                <c:pt idx="251">
                  <c:v>0.55335390374978599</c:v>
                </c:pt>
                <c:pt idx="252">
                  <c:v>0.55390439141987569</c:v>
                </c:pt>
                <c:pt idx="253">
                  <c:v>0.55416618003776186</c:v>
                </c:pt>
                <c:pt idx="254">
                  <c:v>0.55471618770564135</c:v>
                </c:pt>
                <c:pt idx="255">
                  <c:v>0.55552728856072298</c:v>
                </c:pt>
                <c:pt idx="256">
                  <c:v>0.55659905162152457</c:v>
                </c:pt>
                <c:pt idx="257">
                  <c:v>0.55769619696324513</c:v>
                </c:pt>
                <c:pt idx="258">
                  <c:v>0.55929650940674336</c:v>
                </c:pt>
                <c:pt idx="259">
                  <c:v>0.56091089978334574</c:v>
                </c:pt>
                <c:pt idx="260">
                  <c:v>0.55208868054684701</c:v>
                </c:pt>
                <c:pt idx="261">
                  <c:v>0.55461987391899159</c:v>
                </c:pt>
                <c:pt idx="262">
                  <c:v>0.55931304344767596</c:v>
                </c:pt>
                <c:pt idx="263">
                  <c:v>0.56366537544330086</c:v>
                </c:pt>
                <c:pt idx="264">
                  <c:v>0.56644887329648042</c:v>
                </c:pt>
                <c:pt idx="265">
                  <c:v>0.5673739878494356</c:v>
                </c:pt>
                <c:pt idx="266">
                  <c:v>0.56829819991641883</c:v>
                </c:pt>
                <c:pt idx="267">
                  <c:v>0.56860964855270824</c:v>
                </c:pt>
                <c:pt idx="268">
                  <c:v>0.56860964855270824</c:v>
                </c:pt>
                <c:pt idx="269">
                  <c:v>0.56860964855270824</c:v>
                </c:pt>
                <c:pt idx="270">
                  <c:v>0.56860964855270824</c:v>
                </c:pt>
                <c:pt idx="271">
                  <c:v>0.56860964855270824</c:v>
                </c:pt>
                <c:pt idx="272">
                  <c:v>0.56860964855270824</c:v>
                </c:pt>
                <c:pt idx="273">
                  <c:v>0.56922717180283067</c:v>
                </c:pt>
                <c:pt idx="274">
                  <c:v>0.56922717180283067</c:v>
                </c:pt>
                <c:pt idx="275">
                  <c:v>0.56983873486908665</c:v>
                </c:pt>
                <c:pt idx="276">
                  <c:v>0.57014957431488944</c:v>
                </c:pt>
                <c:pt idx="277">
                  <c:v>0.57045535513234591</c:v>
                </c:pt>
                <c:pt idx="278">
                  <c:v>0.57137656197984377</c:v>
                </c:pt>
                <c:pt idx="279">
                  <c:v>0.5716867946136488</c:v>
                </c:pt>
                <c:pt idx="280">
                  <c:v>0.57291198853520353</c:v>
                </c:pt>
                <c:pt idx="281">
                  <c:v>0.57352621829286565</c:v>
                </c:pt>
                <c:pt idx="282">
                  <c:v>0.5744444443936898</c:v>
                </c:pt>
                <c:pt idx="283">
                  <c:v>0.57566607568551798</c:v>
                </c:pt>
                <c:pt idx="284">
                  <c:v>0.57719465995037089</c:v>
                </c:pt>
                <c:pt idx="285">
                  <c:v>0.57872089792384129</c:v>
                </c:pt>
                <c:pt idx="286">
                  <c:v>0.57993692671727193</c:v>
                </c:pt>
                <c:pt idx="287">
                  <c:v>0.58176599347186575</c:v>
                </c:pt>
                <c:pt idx="288">
                  <c:v>0.58267187173822421</c:v>
                </c:pt>
                <c:pt idx="289">
                  <c:v>0.5838876258701351</c:v>
                </c:pt>
                <c:pt idx="290">
                  <c:v>0.58509694233739218</c:v>
                </c:pt>
                <c:pt idx="291">
                  <c:v>0.58570352983141027</c:v>
                </c:pt>
                <c:pt idx="292">
                  <c:v>0.58570352983141027</c:v>
                </c:pt>
                <c:pt idx="293">
                  <c:v>0.58661003400937084</c:v>
                </c:pt>
                <c:pt idx="294">
                  <c:v>0.58661003400937084</c:v>
                </c:pt>
                <c:pt idx="295">
                  <c:v>0.58721511794222458</c:v>
                </c:pt>
                <c:pt idx="296">
                  <c:v>0.58751970187450375</c:v>
                </c:pt>
                <c:pt idx="297">
                  <c:v>0.58721540954962737</c:v>
                </c:pt>
                <c:pt idx="298">
                  <c:v>0.58812046733231516</c:v>
                </c:pt>
                <c:pt idx="299">
                  <c:v>0.58842010033056003</c:v>
                </c:pt>
                <c:pt idx="300">
                  <c:v>0.58902466134517872</c:v>
                </c:pt>
                <c:pt idx="301">
                  <c:v>0.58962800902571444</c:v>
                </c:pt>
                <c:pt idx="302">
                  <c:v>0.58962800902571444</c:v>
                </c:pt>
                <c:pt idx="303">
                  <c:v>0.59053076437731111</c:v>
                </c:pt>
                <c:pt idx="304">
                  <c:v>0.59143266034954955</c:v>
                </c:pt>
                <c:pt idx="305">
                  <c:v>0.59203428171340278</c:v>
                </c:pt>
                <c:pt idx="306">
                  <c:v>0.59233369857707496</c:v>
                </c:pt>
                <c:pt idx="307">
                  <c:v>0.59323388068987293</c:v>
                </c:pt>
                <c:pt idx="308">
                  <c:v>0.59383435665369977</c:v>
                </c:pt>
                <c:pt idx="309">
                  <c:v>0.59113808698164083</c:v>
                </c:pt>
                <c:pt idx="310">
                  <c:v>0.59114151817109761</c:v>
                </c:pt>
                <c:pt idx="311">
                  <c:v>0.59264416744016624</c:v>
                </c:pt>
                <c:pt idx="312">
                  <c:v>0.59474621103557046</c:v>
                </c:pt>
                <c:pt idx="313">
                  <c:v>0.59624059670023355</c:v>
                </c:pt>
                <c:pt idx="314">
                  <c:v>0.59713963045187901</c:v>
                </c:pt>
                <c:pt idx="315">
                  <c:v>0.59803526226695947</c:v>
                </c:pt>
                <c:pt idx="316">
                  <c:v>0.59862978054152016</c:v>
                </c:pt>
                <c:pt idx="317">
                  <c:v>0.59893004821590212</c:v>
                </c:pt>
                <c:pt idx="318">
                  <c:v>0.59922599778248997</c:v>
                </c:pt>
                <c:pt idx="319">
                  <c:v>0.59952400562562724</c:v>
                </c:pt>
                <c:pt idx="320">
                  <c:v>0.59952626226603833</c:v>
                </c:pt>
                <c:pt idx="321">
                  <c:v>0.59982427010917572</c:v>
                </c:pt>
                <c:pt idx="322">
                  <c:v>0.60041964148111948</c:v>
                </c:pt>
                <c:pt idx="323">
                  <c:v>0.60041964148111948</c:v>
                </c:pt>
                <c:pt idx="324">
                  <c:v>0.60071736911001772</c:v>
                </c:pt>
                <c:pt idx="325">
                  <c:v>0.60131217907875578</c:v>
                </c:pt>
                <c:pt idx="326">
                  <c:v>0.60190642870203737</c:v>
                </c:pt>
                <c:pt idx="327">
                  <c:v>0.60220387664316777</c:v>
                </c:pt>
                <c:pt idx="328">
                  <c:v>0.60279756697575626</c:v>
                </c:pt>
                <c:pt idx="329">
                  <c:v>0.60457816871982484</c:v>
                </c:pt>
                <c:pt idx="330">
                  <c:v>0.60546679950107241</c:v>
                </c:pt>
                <c:pt idx="331">
                  <c:v>0.60694606124249251</c:v>
                </c:pt>
                <c:pt idx="332">
                  <c:v>0.60842571187775263</c:v>
                </c:pt>
                <c:pt idx="333">
                  <c:v>0.61049612286714716</c:v>
                </c:pt>
                <c:pt idx="334">
                  <c:v>0.61197140493625624</c:v>
                </c:pt>
                <c:pt idx="335">
                  <c:v>0.60962034261719633</c:v>
                </c:pt>
                <c:pt idx="336">
                  <c:v>0.61285849897140332</c:v>
                </c:pt>
                <c:pt idx="337">
                  <c:v>0.61843242006648946</c:v>
                </c:pt>
                <c:pt idx="338">
                  <c:v>0.62310091807962287</c:v>
                </c:pt>
                <c:pt idx="339">
                  <c:v>0.62716579214804347</c:v>
                </c:pt>
                <c:pt idx="340">
                  <c:v>0.63034720831390667</c:v>
                </c:pt>
                <c:pt idx="341">
                  <c:v>0.63265606870017488</c:v>
                </c:pt>
                <c:pt idx="342">
                  <c:v>0.63380397767541852</c:v>
                </c:pt>
                <c:pt idx="343">
                  <c:v>0.63523808607585652</c:v>
                </c:pt>
                <c:pt idx="344">
                  <c:v>0.63581435901430183</c:v>
                </c:pt>
                <c:pt idx="345">
                  <c:v>0.63667138171345394</c:v>
                </c:pt>
                <c:pt idx="346">
                  <c:v>0.63638287753729594</c:v>
                </c:pt>
                <c:pt idx="347">
                  <c:v>0.63695862752091237</c:v>
                </c:pt>
                <c:pt idx="348">
                  <c:v>0.63752896406916371</c:v>
                </c:pt>
                <c:pt idx="349">
                  <c:v>0.63724249869437033</c:v>
                </c:pt>
                <c:pt idx="350">
                  <c:v>0.63752922249530253</c:v>
                </c:pt>
                <c:pt idx="351">
                  <c:v>0.63810108263947007</c:v>
                </c:pt>
                <c:pt idx="352">
                  <c:v>0.63781284109797409</c:v>
                </c:pt>
                <c:pt idx="353">
                  <c:v>0.63809930647276747</c:v>
                </c:pt>
                <c:pt idx="354">
                  <c:v>0.63809619871193868</c:v>
                </c:pt>
                <c:pt idx="355">
                  <c:v>0.64038792171028625</c:v>
                </c:pt>
                <c:pt idx="356">
                  <c:v>0.64656975635760283</c:v>
                </c:pt>
                <c:pt idx="357">
                  <c:v>0.6527148711289642</c:v>
                </c:pt>
                <c:pt idx="358">
                  <c:v>0.65790126353962131</c:v>
                </c:pt>
                <c:pt idx="359">
                  <c:v>0.66245040579131531</c:v>
                </c:pt>
                <c:pt idx="360">
                  <c:v>0.66577128649860251</c:v>
                </c:pt>
                <c:pt idx="361">
                  <c:v>0.66847985648506791</c:v>
                </c:pt>
                <c:pt idx="362">
                  <c:v>0.67148145868674913</c:v>
                </c:pt>
                <c:pt idx="363">
                  <c:v>0.67416993114994039</c:v>
                </c:pt>
                <c:pt idx="364">
                  <c:v>0.67595823127937582</c:v>
                </c:pt>
                <c:pt idx="365">
                  <c:v>0.6771514308321761</c:v>
                </c:pt>
                <c:pt idx="366">
                  <c:v>0.67804174707588771</c:v>
                </c:pt>
                <c:pt idx="367">
                  <c:v>0.67863591718863792</c:v>
                </c:pt>
                <c:pt idx="368">
                  <c:v>0.67952661329243436</c:v>
                </c:pt>
                <c:pt idx="369">
                  <c:v>0.68011761684578331</c:v>
                </c:pt>
                <c:pt idx="370">
                  <c:v>0.6807103934355393</c:v>
                </c:pt>
                <c:pt idx="371">
                  <c:v>0.68100692212380809</c:v>
                </c:pt>
                <c:pt idx="372">
                  <c:v>0.68130549735474588</c:v>
                </c:pt>
                <c:pt idx="373">
                  <c:v>0.68130084718100825</c:v>
                </c:pt>
                <c:pt idx="374">
                  <c:v>0.68159942241194604</c:v>
                </c:pt>
                <c:pt idx="375">
                  <c:v>0.68159942241194604</c:v>
                </c:pt>
                <c:pt idx="376">
                  <c:v>0.68218904323825369</c:v>
                </c:pt>
                <c:pt idx="377">
                  <c:v>0.68278563325858832</c:v>
                </c:pt>
                <c:pt idx="378">
                  <c:v>0.68337646423896226</c:v>
                </c:pt>
                <c:pt idx="379">
                  <c:v>0.68455405410736514</c:v>
                </c:pt>
                <c:pt idx="380">
                  <c:v>0.68485669540777305</c:v>
                </c:pt>
                <c:pt idx="381">
                  <c:v>0.6869248182634573</c:v>
                </c:pt>
                <c:pt idx="382">
                  <c:v>0.69045659484916888</c:v>
                </c:pt>
                <c:pt idx="383">
                  <c:v>0.69309115651842668</c:v>
                </c:pt>
                <c:pt idx="384">
                  <c:v>0.69426427343864849</c:v>
                </c:pt>
                <c:pt idx="385">
                  <c:v>0.69601590882805286</c:v>
                </c:pt>
                <c:pt idx="386">
                  <c:v>0.69659828291593584</c:v>
                </c:pt>
                <c:pt idx="387">
                  <c:v>0.69746796982003867</c:v>
                </c:pt>
                <c:pt idx="388">
                  <c:v>0.69746796982003867</c:v>
                </c:pt>
                <c:pt idx="389">
                  <c:v>0.69717608805996001</c:v>
                </c:pt>
                <c:pt idx="390">
                  <c:v>0.69717608805996001</c:v>
                </c:pt>
                <c:pt idx="391">
                  <c:v>0.69688785204350523</c:v>
                </c:pt>
                <c:pt idx="392">
                  <c:v>0.69717635376425247</c:v>
                </c:pt>
                <c:pt idx="393">
                  <c:v>0.69717635376425247</c:v>
                </c:pt>
                <c:pt idx="394">
                  <c:v>0.69688420269086881</c:v>
                </c:pt>
                <c:pt idx="395">
                  <c:v>0.69688420269086881</c:v>
                </c:pt>
                <c:pt idx="396">
                  <c:v>0.69688420269086881</c:v>
                </c:pt>
                <c:pt idx="397">
                  <c:v>0.69717727169348132</c:v>
                </c:pt>
                <c:pt idx="398">
                  <c:v>0.69717727169348132</c:v>
                </c:pt>
                <c:pt idx="399">
                  <c:v>0.69805072761141362</c:v>
                </c:pt>
                <c:pt idx="400">
                  <c:v>0.69863122794161125</c:v>
                </c:pt>
                <c:pt idx="401">
                  <c:v>0.69950790008779196</c:v>
                </c:pt>
                <c:pt idx="402">
                  <c:v>0.699500021897419</c:v>
                </c:pt>
                <c:pt idx="403">
                  <c:v>0.69892658233267435</c:v>
                </c:pt>
                <c:pt idx="404">
                  <c:v>0.70213196053078153</c:v>
                </c:pt>
                <c:pt idx="405">
                  <c:v>0.70821438157812422</c:v>
                </c:pt>
                <c:pt idx="406">
                  <c:v>0.71368143430134179</c:v>
                </c:pt>
                <c:pt idx="407">
                  <c:v>0.71883194943463558</c:v>
                </c:pt>
                <c:pt idx="408">
                  <c:v>0.72338284106875184</c:v>
                </c:pt>
                <c:pt idx="409">
                  <c:v>0.72678251653028469</c:v>
                </c:pt>
                <c:pt idx="410">
                  <c:v>0.72988537252988006</c:v>
                </c:pt>
                <c:pt idx="411">
                  <c:v>0.73241377037328237</c:v>
                </c:pt>
                <c:pt idx="412">
                  <c:v>0.73437456744425089</c:v>
                </c:pt>
                <c:pt idx="413">
                  <c:v>0.73605438725677041</c:v>
                </c:pt>
                <c:pt idx="414">
                  <c:v>0.73773123396952978</c:v>
                </c:pt>
                <c:pt idx="415">
                  <c:v>0.73856817602882341</c:v>
                </c:pt>
                <c:pt idx="416">
                  <c:v>0.73940437940067871</c:v>
                </c:pt>
                <c:pt idx="417">
                  <c:v>0.74079515859119693</c:v>
                </c:pt>
                <c:pt idx="418">
                  <c:v>0.74079515859119693</c:v>
                </c:pt>
                <c:pt idx="419">
                  <c:v>0.74162939999150523</c:v>
                </c:pt>
                <c:pt idx="420">
                  <c:v>0.74190398032723659</c:v>
                </c:pt>
                <c:pt idx="421">
                  <c:v>0.74218364010139704</c:v>
                </c:pt>
                <c:pt idx="422">
                  <c:v>0.74301666102600328</c:v>
                </c:pt>
                <c:pt idx="423">
                  <c:v>0.74356978166785492</c:v>
                </c:pt>
                <c:pt idx="424">
                  <c:v>0.74412811866097461</c:v>
                </c:pt>
                <c:pt idx="425">
                  <c:v>0.74523329226161239</c:v>
                </c:pt>
                <c:pt idx="426">
                  <c:v>0.74634216891043803</c:v>
                </c:pt>
                <c:pt idx="427">
                  <c:v>0.74744988470601348</c:v>
                </c:pt>
                <c:pt idx="428">
                  <c:v>0.74937960514142576</c:v>
                </c:pt>
                <c:pt idx="429">
                  <c:v>0.75158758778156354</c:v>
                </c:pt>
                <c:pt idx="430">
                  <c:v>0.75378573741946597</c:v>
                </c:pt>
                <c:pt idx="431">
                  <c:v>0.75597831375810876</c:v>
                </c:pt>
                <c:pt idx="432">
                  <c:v>0.75789592219419877</c:v>
                </c:pt>
                <c:pt idx="433">
                  <c:v>0.75952985045483079</c:v>
                </c:pt>
                <c:pt idx="434">
                  <c:v>0.76062220171473471</c:v>
                </c:pt>
                <c:pt idx="435">
                  <c:v>0.76116523203209219</c:v>
                </c:pt>
                <c:pt idx="436">
                  <c:v>0.76143399453550165</c:v>
                </c:pt>
                <c:pt idx="437">
                  <c:v>0.76198221934504584</c:v>
                </c:pt>
                <c:pt idx="438">
                  <c:v>0.76252439075833278</c:v>
                </c:pt>
                <c:pt idx="439">
                  <c:v>0.76252439075833278</c:v>
                </c:pt>
                <c:pt idx="440">
                  <c:v>0.76252439075833278</c:v>
                </c:pt>
                <c:pt idx="441">
                  <c:v>0.76279261724673419</c:v>
                </c:pt>
                <c:pt idx="442">
                  <c:v>0.76279261724673419</c:v>
                </c:pt>
                <c:pt idx="443">
                  <c:v>0.76306625765425318</c:v>
                </c:pt>
                <c:pt idx="444">
                  <c:v>0.7633342544573587</c:v>
                </c:pt>
                <c:pt idx="445">
                  <c:v>0.76388113791139434</c:v>
                </c:pt>
                <c:pt idx="446">
                  <c:v>0.76415430794434103</c:v>
                </c:pt>
                <c:pt idx="447">
                  <c:v>0.7649682533414337</c:v>
                </c:pt>
                <c:pt idx="448">
                  <c:v>0.76578150006498358</c:v>
                </c:pt>
                <c:pt idx="449">
                  <c:v>0.7671338269101412</c:v>
                </c:pt>
                <c:pt idx="450">
                  <c:v>0.76848975718035861</c:v>
                </c:pt>
                <c:pt idx="451">
                  <c:v>0.77011022078318847</c:v>
                </c:pt>
                <c:pt idx="452">
                  <c:v>0.77199409087309767</c:v>
                </c:pt>
                <c:pt idx="453">
                  <c:v>0.77334308329356771</c:v>
                </c:pt>
                <c:pt idx="454">
                  <c:v>0.77522542603100464</c:v>
                </c:pt>
                <c:pt idx="455">
                  <c:v>0.77763352965221733</c:v>
                </c:pt>
                <c:pt idx="456">
                  <c:v>0.7795082007413664</c:v>
                </c:pt>
                <c:pt idx="457">
                  <c:v>0.78137343367405609</c:v>
                </c:pt>
                <c:pt idx="458">
                  <c:v>0.782173467171833</c:v>
                </c:pt>
                <c:pt idx="459">
                  <c:v>0.78323996809933349</c:v>
                </c:pt>
                <c:pt idx="460">
                  <c:v>0.78403265240319742</c:v>
                </c:pt>
                <c:pt idx="461">
                  <c:v>0.78403265240319742</c:v>
                </c:pt>
                <c:pt idx="462">
                  <c:v>0.78482971507599808</c:v>
                </c:pt>
                <c:pt idx="463">
                  <c:v>0.78562610774323216</c:v>
                </c:pt>
                <c:pt idx="464">
                  <c:v>0.78589308240373879</c:v>
                </c:pt>
                <c:pt idx="465">
                  <c:v>0.78589308240373879</c:v>
                </c:pt>
                <c:pt idx="466">
                  <c:v>0.78615458530035198</c:v>
                </c:pt>
                <c:pt idx="467">
                  <c:v>0.78721711293217089</c:v>
                </c:pt>
                <c:pt idx="468">
                  <c:v>0.78695031706653784</c:v>
                </c:pt>
                <c:pt idx="469">
                  <c:v>0.78774493145090829</c:v>
                </c:pt>
                <c:pt idx="470">
                  <c:v>0.78801172731654134</c:v>
                </c:pt>
                <c:pt idx="471">
                  <c:v>0.78880518352470375</c:v>
                </c:pt>
                <c:pt idx="472">
                  <c:v>0.7903913057889107</c:v>
                </c:pt>
                <c:pt idx="473">
                  <c:v>0.79118304142982288</c:v>
                </c:pt>
                <c:pt idx="474">
                  <c:v>0.79223930858717884</c:v>
                </c:pt>
                <c:pt idx="475">
                  <c:v>0.79381969629824367</c:v>
                </c:pt>
                <c:pt idx="476">
                  <c:v>0.79539745214426338</c:v>
                </c:pt>
                <c:pt idx="477">
                  <c:v>0.79696762018896339</c:v>
                </c:pt>
                <c:pt idx="478">
                  <c:v>0.79775388457730401</c:v>
                </c:pt>
                <c:pt idx="479">
                  <c:v>0.79853949697996807</c:v>
                </c:pt>
                <c:pt idx="480">
                  <c:v>0.79932445847736222</c:v>
                </c:pt>
                <c:pt idx="481">
                  <c:v>0.79984577194006601</c:v>
                </c:pt>
                <c:pt idx="482">
                  <c:v>0.80010877014720982</c:v>
                </c:pt>
                <c:pt idx="483">
                  <c:v>0.80062965230115901</c:v>
                </c:pt>
                <c:pt idx="484">
                  <c:v>0.80089243306455993</c:v>
                </c:pt>
                <c:pt idx="485">
                  <c:v>0.80141288462287497</c:v>
                </c:pt>
                <c:pt idx="486">
                  <c:v>0.8016754483017956</c:v>
                </c:pt>
                <c:pt idx="487">
                  <c:v>0.80193244178731593</c:v>
                </c:pt>
                <c:pt idx="488">
                  <c:v>0.80219546997583002</c:v>
                </c:pt>
                <c:pt idx="489">
                  <c:v>0.80271459955636459</c:v>
                </c:pt>
                <c:pt idx="490">
                  <c:v>0.80271459955636459</c:v>
                </c:pt>
                <c:pt idx="491">
                  <c:v>0.80323398154363657</c:v>
                </c:pt>
                <c:pt idx="492">
                  <c:v>0.80349611212782912</c:v>
                </c:pt>
                <c:pt idx="493">
                  <c:v>0.80401506599312444</c:v>
                </c:pt>
                <c:pt idx="494">
                  <c:v>0.80427698056529862</c:v>
                </c:pt>
                <c:pt idx="495">
                  <c:v>0.80453867948117619</c:v>
                </c:pt>
                <c:pt idx="496">
                  <c:v>0.80479483160645593</c:v>
                </c:pt>
                <c:pt idx="497">
                  <c:v>0.80505720592973506</c:v>
                </c:pt>
                <c:pt idx="498">
                  <c:v>0.80557463218945469</c:v>
                </c:pt>
                <c:pt idx="499">
                  <c:v>0.80687721721104166</c:v>
                </c:pt>
                <c:pt idx="500">
                  <c:v>0.81651854456831108</c:v>
                </c:pt>
                <c:pt idx="501">
                  <c:v>0.83951634362120819</c:v>
                </c:pt>
                <c:pt idx="502">
                  <c:v>0.84427781118497347</c:v>
                </c:pt>
                <c:pt idx="503">
                  <c:v>0.84724365415700031</c:v>
                </c:pt>
                <c:pt idx="504">
                  <c:v>0.85019690551306615</c:v>
                </c:pt>
                <c:pt idx="505">
                  <c:v>0.85255189064588777</c:v>
                </c:pt>
                <c:pt idx="506">
                  <c:v>0.85342804482572276</c:v>
                </c:pt>
                <c:pt idx="507">
                  <c:v>0.85371842028189893</c:v>
                </c:pt>
                <c:pt idx="508">
                  <c:v>0.85430909522377751</c:v>
                </c:pt>
                <c:pt idx="509">
                  <c:v>0.85430909522377751</c:v>
                </c:pt>
                <c:pt idx="510">
                  <c:v>0.85489297896260574</c:v>
                </c:pt>
                <c:pt idx="511">
                  <c:v>0.85518932705895379</c:v>
                </c:pt>
                <c:pt idx="512">
                  <c:v>0.85518932705895379</c:v>
                </c:pt>
                <c:pt idx="513">
                  <c:v>0.85518932705895379</c:v>
                </c:pt>
                <c:pt idx="514">
                  <c:v>0.85518932705895379</c:v>
                </c:pt>
                <c:pt idx="515">
                  <c:v>0.85547916468320528</c:v>
                </c:pt>
                <c:pt idx="516">
                  <c:v>0.85547916468320528</c:v>
                </c:pt>
                <c:pt idx="517">
                  <c:v>0.85577523672170874</c:v>
                </c:pt>
                <c:pt idx="518">
                  <c:v>0.85606480617643343</c:v>
                </c:pt>
                <c:pt idx="519">
                  <c:v>0.85635831130558937</c:v>
                </c:pt>
                <c:pt idx="520">
                  <c:v>0.85694734111489435</c:v>
                </c:pt>
                <c:pt idx="521">
                  <c:v>0.85753216435876212</c:v>
                </c:pt>
                <c:pt idx="522">
                  <c:v>0.85959039567512185</c:v>
                </c:pt>
                <c:pt idx="523">
                  <c:v>0.86250399601947036</c:v>
                </c:pt>
                <c:pt idx="524">
                  <c:v>0.86482863204071092</c:v>
                </c:pt>
                <c:pt idx="525">
                  <c:v>0.86540635629713514</c:v>
                </c:pt>
                <c:pt idx="526">
                  <c:v>0.8674391425875333</c:v>
                </c:pt>
                <c:pt idx="527">
                  <c:v>0.8694654135492127</c:v>
                </c:pt>
                <c:pt idx="528">
                  <c:v>0.87090651273177666</c:v>
                </c:pt>
                <c:pt idx="529">
                  <c:v>0.87205656117604813</c:v>
                </c:pt>
                <c:pt idx="530">
                  <c:v>0.87263590947114056</c:v>
                </c:pt>
                <c:pt idx="531">
                  <c:v>0.87349929611846144</c:v>
                </c:pt>
                <c:pt idx="532">
                  <c:v>0.87407150533069844</c:v>
                </c:pt>
                <c:pt idx="533">
                  <c:v>0.87464594702325604</c:v>
                </c:pt>
                <c:pt idx="534">
                  <c:v>0.87464594702325604</c:v>
                </c:pt>
                <c:pt idx="535">
                  <c:v>0.87550750535996258</c:v>
                </c:pt>
                <c:pt idx="536">
                  <c:v>0.8757948835895264</c:v>
                </c:pt>
                <c:pt idx="537">
                  <c:v>0.8763682809353065</c:v>
                </c:pt>
                <c:pt idx="538">
                  <c:v>0.8763682809353065</c:v>
                </c:pt>
                <c:pt idx="539">
                  <c:v>0.87693867760011435</c:v>
                </c:pt>
                <c:pt idx="540">
                  <c:v>0.87722827517034985</c:v>
                </c:pt>
                <c:pt idx="541">
                  <c:v>0.87779815554206719</c:v>
                </c:pt>
                <c:pt idx="542">
                  <c:v>0.87808748948228865</c:v>
                </c:pt>
                <c:pt idx="543">
                  <c:v>0.87808118582902528</c:v>
                </c:pt>
                <c:pt idx="544">
                  <c:v>0.87808800788382835</c:v>
                </c:pt>
                <c:pt idx="545">
                  <c:v>0.87865984581007073</c:v>
                </c:pt>
                <c:pt idx="546">
                  <c:v>0.87951776368894707</c:v>
                </c:pt>
                <c:pt idx="547">
                  <c:v>0.87979781356045805</c:v>
                </c:pt>
                <c:pt idx="548">
                  <c:v>0.87950900544293553</c:v>
                </c:pt>
                <c:pt idx="549">
                  <c:v>0.87922999347906527</c:v>
                </c:pt>
                <c:pt idx="550">
                  <c:v>0.87951633217804626</c:v>
                </c:pt>
                <c:pt idx="551">
                  <c:v>0.87979858927280341</c:v>
                </c:pt>
                <c:pt idx="552">
                  <c:v>0.87893897027449819</c:v>
                </c:pt>
                <c:pt idx="553">
                  <c:v>0.87837388713923736</c:v>
                </c:pt>
                <c:pt idx="554">
                  <c:v>0.87894299690059119</c:v>
                </c:pt>
                <c:pt idx="555">
                  <c:v>0.87923206769034412</c:v>
                </c:pt>
                <c:pt idx="556">
                  <c:v>0.88037827971912697</c:v>
                </c:pt>
                <c:pt idx="557">
                  <c:v>0.88123464667532014</c:v>
                </c:pt>
                <c:pt idx="558">
                  <c:v>0.88209024027107796</c:v>
                </c:pt>
                <c:pt idx="559">
                  <c:v>0.8832265573747563</c:v>
                </c:pt>
                <c:pt idx="560">
                  <c:v>0.88408035592532419</c:v>
                </c:pt>
                <c:pt idx="561">
                  <c:v>0.8849333857438042</c:v>
                </c:pt>
                <c:pt idx="562">
                  <c:v>0.88578564821324657</c:v>
                </c:pt>
                <c:pt idx="563">
                  <c:v>0.88663714471297173</c:v>
                </c:pt>
                <c:pt idx="564">
                  <c:v>0.88720141124379115</c:v>
                </c:pt>
                <c:pt idx="565">
                  <c:v>0.88776761085765032</c:v>
                </c:pt>
                <c:pt idx="566">
                  <c:v>0.88833784530198745</c:v>
                </c:pt>
                <c:pt idx="567">
                  <c:v>0.88918705213139393</c:v>
                </c:pt>
                <c:pt idx="568">
                  <c:v>0.88974980558744621</c:v>
                </c:pt>
                <c:pt idx="569">
                  <c:v>0.89059774937077529</c:v>
                </c:pt>
                <c:pt idx="570">
                  <c:v>0.8920158075461786</c:v>
                </c:pt>
                <c:pt idx="571">
                  <c:v>0.8934229738482099</c:v>
                </c:pt>
                <c:pt idx="572">
                  <c:v>0.89511446222042768</c:v>
                </c:pt>
                <c:pt idx="573">
                  <c:v>0.89707828089598785</c:v>
                </c:pt>
                <c:pt idx="574">
                  <c:v>0.89904899550460593</c:v>
                </c:pt>
                <c:pt idx="575">
                  <c:v>0.90184451850480796</c:v>
                </c:pt>
                <c:pt idx="576">
                  <c:v>0.90407446987654938</c:v>
                </c:pt>
                <c:pt idx="577">
                  <c:v>0.90546191485700334</c:v>
                </c:pt>
                <c:pt idx="578">
                  <c:v>0.9062891245240593</c:v>
                </c:pt>
                <c:pt idx="579">
                  <c:v>0.9073934147373981</c:v>
                </c:pt>
                <c:pt idx="580">
                  <c:v>0.9073934147373981</c:v>
                </c:pt>
                <c:pt idx="581">
                  <c:v>0.90766679582288601</c:v>
                </c:pt>
                <c:pt idx="582">
                  <c:v>0.90794459309726161</c:v>
                </c:pt>
                <c:pt idx="583">
                  <c:v>0.90822214686070257</c:v>
                </c:pt>
                <c:pt idx="584">
                  <c:v>0.90849528935212043</c:v>
                </c:pt>
                <c:pt idx="585">
                  <c:v>0.90849528935212043</c:v>
                </c:pt>
                <c:pt idx="586">
                  <c:v>0.90876819366557238</c:v>
                </c:pt>
                <c:pt idx="587">
                  <c:v>0.90904550434461717</c:v>
                </c:pt>
                <c:pt idx="588">
                  <c:v>0.90959523891518723</c:v>
                </c:pt>
                <c:pt idx="589">
                  <c:v>0.90959523891518723</c:v>
                </c:pt>
                <c:pt idx="590">
                  <c:v>0.90959963549909528</c:v>
                </c:pt>
                <c:pt idx="591">
                  <c:v>0.90960355292250394</c:v>
                </c:pt>
                <c:pt idx="592">
                  <c:v>0.90933064860905199</c:v>
                </c:pt>
                <c:pt idx="593">
                  <c:v>0.90933384870214562</c:v>
                </c:pt>
                <c:pt idx="594">
                  <c:v>0.91043009357470073</c:v>
                </c:pt>
                <c:pt idx="595">
                  <c:v>0.91125128774325503</c:v>
                </c:pt>
                <c:pt idx="596">
                  <c:v>0.91234691414947833</c:v>
                </c:pt>
                <c:pt idx="597">
                  <c:v>0.91852265854453041</c:v>
                </c:pt>
                <c:pt idx="598">
                  <c:v>0.92093603529778356</c:v>
                </c:pt>
                <c:pt idx="599">
                  <c:v>0.92348545874811527</c:v>
                </c:pt>
                <c:pt idx="600">
                  <c:v>0.92629880547687382</c:v>
                </c:pt>
                <c:pt idx="601">
                  <c:v>0.92714745511923413</c:v>
                </c:pt>
                <c:pt idx="602">
                  <c:v>0.92802327529914941</c:v>
                </c:pt>
                <c:pt idx="603">
                  <c:v>0.92940641917182332</c:v>
                </c:pt>
                <c:pt idx="604">
                  <c:v>0.92995149290797985</c:v>
                </c:pt>
                <c:pt idx="605">
                  <c:v>0.93133156057504385</c:v>
                </c:pt>
                <c:pt idx="606">
                  <c:v>0.93163520661758714</c:v>
                </c:pt>
                <c:pt idx="607">
                  <c:v>0.93274416673245408</c:v>
                </c:pt>
                <c:pt idx="608">
                  <c:v>0.93304386813116535</c:v>
                </c:pt>
                <c:pt idx="609">
                  <c:v>0.93411991658277094</c:v>
                </c:pt>
                <c:pt idx="610">
                  <c:v>0.93442293364340945</c:v>
                </c:pt>
                <c:pt idx="611">
                  <c:v>0.93579627806235433</c:v>
                </c:pt>
                <c:pt idx="612">
                  <c:v>0.93552919608021856</c:v>
                </c:pt>
                <c:pt idx="613">
                  <c:v>0.93690401836066395</c:v>
                </c:pt>
                <c:pt idx="614">
                  <c:v>0.93720259359160174</c:v>
                </c:pt>
                <c:pt idx="615">
                  <c:v>0.93830480817692086</c:v>
                </c:pt>
                <c:pt idx="616">
                  <c:v>0.93887280416484697</c:v>
                </c:pt>
                <c:pt idx="617">
                  <c:v>0.9408069776506256</c:v>
                </c:pt>
                <c:pt idx="618">
                  <c:v>0.94193634961639605</c:v>
                </c:pt>
                <c:pt idx="619">
                  <c:v>0.94386421290056932</c:v>
                </c:pt>
                <c:pt idx="620">
                  <c:v>0.94499356996253259</c:v>
                </c:pt>
                <c:pt idx="621">
                  <c:v>0.94744502607418213</c:v>
                </c:pt>
                <c:pt idx="622">
                  <c:v>0.94774399079767935</c:v>
                </c:pt>
                <c:pt idx="623">
                  <c:v>0.94913226233185632</c:v>
                </c:pt>
                <c:pt idx="624">
                  <c:v>0.95130943723039774</c:v>
                </c:pt>
                <c:pt idx="625">
                  <c:v>0.95186961895216449</c:v>
                </c:pt>
                <c:pt idx="626">
                  <c:v>0.95374693452287829</c:v>
                </c:pt>
                <c:pt idx="627">
                  <c:v>0.95430590320077913</c:v>
                </c:pt>
                <c:pt idx="628">
                  <c:v>0.95617408194391551</c:v>
                </c:pt>
                <c:pt idx="629">
                  <c:v>0.95621036724631236</c:v>
                </c:pt>
                <c:pt idx="630">
                  <c:v>0.95650657467915545</c:v>
                </c:pt>
                <c:pt idx="631">
                  <c:v>0.95755609285454357</c:v>
                </c:pt>
                <c:pt idx="632">
                  <c:v>0.95784808489251638</c:v>
                </c:pt>
                <c:pt idx="633">
                  <c:v>0.95814374776320455</c:v>
                </c:pt>
                <c:pt idx="634">
                  <c:v>0.95919151425184113</c:v>
                </c:pt>
                <c:pt idx="635">
                  <c:v>0.95922255583710181</c:v>
                </c:pt>
                <c:pt idx="636">
                  <c:v>0.96052942878616498</c:v>
                </c:pt>
                <c:pt idx="637">
                  <c:v>0.96082497702749448</c:v>
                </c:pt>
                <c:pt idx="638">
                  <c:v>0.96085591770872669</c:v>
                </c:pt>
                <c:pt idx="639">
                  <c:v>0.96219107499376177</c:v>
                </c:pt>
                <c:pt idx="640">
                  <c:v>0.96248560060658017</c:v>
                </c:pt>
                <c:pt idx="641">
                  <c:v>0.96355872577216939</c:v>
                </c:pt>
                <c:pt idx="642">
                  <c:v>0.96492427885619259</c:v>
                </c:pt>
                <c:pt idx="643">
                  <c:v>0.96680593028183892</c:v>
                </c:pt>
                <c:pt idx="644">
                  <c:v>0.96897254100808683</c:v>
                </c:pt>
                <c:pt idx="645">
                  <c:v>0.97084598852816129</c:v>
                </c:pt>
                <c:pt idx="646">
                  <c:v>0.97194400738363906</c:v>
                </c:pt>
                <c:pt idx="647">
                  <c:v>0.9732973300555926</c:v>
                </c:pt>
                <c:pt idx="648">
                  <c:v>0.97541952768985762</c:v>
                </c:pt>
                <c:pt idx="649">
                  <c:v>0.97753647214262374</c:v>
                </c:pt>
                <c:pt idx="650">
                  <c:v>0.97808169950586044</c:v>
                </c:pt>
                <c:pt idx="651">
                  <c:v>0.97808596132271808</c:v>
                </c:pt>
                <c:pt idx="652">
                  <c:v>0.978371141523107</c:v>
                </c:pt>
                <c:pt idx="653">
                  <c:v>0.97834558241849667</c:v>
                </c:pt>
                <c:pt idx="654">
                  <c:v>0.9799120146269571</c:v>
                </c:pt>
                <c:pt idx="655">
                  <c:v>0.9796573217016098</c:v>
                </c:pt>
                <c:pt idx="656">
                  <c:v>0.97940242133781552</c:v>
                </c:pt>
                <c:pt idx="657">
                  <c:v>0.97994628711363407</c:v>
                </c:pt>
                <c:pt idx="658">
                  <c:v>0.98045650339447299</c:v>
                </c:pt>
                <c:pt idx="659">
                  <c:v>0.9802018104691258</c:v>
                </c:pt>
                <c:pt idx="660">
                  <c:v>0.98150991055406311</c:v>
                </c:pt>
                <c:pt idx="661">
                  <c:v>0.98154004611033108</c:v>
                </c:pt>
                <c:pt idx="662">
                  <c:v>0.98179856450789271</c:v>
                </c:pt>
                <c:pt idx="663">
                  <c:v>0.98284618231443266</c:v>
                </c:pt>
                <c:pt idx="664">
                  <c:v>0.98339283728316074</c:v>
                </c:pt>
                <c:pt idx="665">
                  <c:v>0.984409127806513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2FB-5548-A0F9-8A3D00167618}"/>
            </c:ext>
          </c:extLst>
        </c:ser>
        <c:ser>
          <c:idx val="1"/>
          <c:order val="1"/>
          <c:tx>
            <c:v>Average Unstirred</c:v>
          </c:tx>
          <c:spPr>
            <a:ln w="3492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Volume Average Stirred vs unst.'!$A$5:$A$672</c:f>
              <c:numCache>
                <c:formatCode>0</c:formatCode>
                <c:ptCount val="668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1</c:v>
                </c:pt>
                <c:pt idx="25">
                  <c:v>1.0416666666666667</c:v>
                </c:pt>
                <c:pt idx="26">
                  <c:v>1.0833333333333333</c:v>
                </c:pt>
                <c:pt idx="27">
                  <c:v>1.125</c:v>
                </c:pt>
                <c:pt idx="28">
                  <c:v>1.1666666666666667</c:v>
                </c:pt>
                <c:pt idx="29">
                  <c:v>1.2083333333333333</c:v>
                </c:pt>
                <c:pt idx="30">
                  <c:v>1.25</c:v>
                </c:pt>
                <c:pt idx="31">
                  <c:v>1.2916666666666667</c:v>
                </c:pt>
                <c:pt idx="32">
                  <c:v>1.3333333333333333</c:v>
                </c:pt>
                <c:pt idx="33">
                  <c:v>1.375</c:v>
                </c:pt>
                <c:pt idx="34">
                  <c:v>1.4166666666666667</c:v>
                </c:pt>
                <c:pt idx="35">
                  <c:v>1.4583333333333333</c:v>
                </c:pt>
                <c:pt idx="36">
                  <c:v>1.5</c:v>
                </c:pt>
                <c:pt idx="37">
                  <c:v>1.5416666666666667</c:v>
                </c:pt>
                <c:pt idx="38">
                  <c:v>1.5833333333333333</c:v>
                </c:pt>
                <c:pt idx="39">
                  <c:v>1.625</c:v>
                </c:pt>
                <c:pt idx="40">
                  <c:v>1.6666666666666667</c:v>
                </c:pt>
                <c:pt idx="41">
                  <c:v>1.7083333333333333</c:v>
                </c:pt>
                <c:pt idx="42">
                  <c:v>1.75</c:v>
                </c:pt>
                <c:pt idx="43">
                  <c:v>1.7916666666666667</c:v>
                </c:pt>
                <c:pt idx="44">
                  <c:v>1.8333333333333333</c:v>
                </c:pt>
                <c:pt idx="45">
                  <c:v>1.875</c:v>
                </c:pt>
                <c:pt idx="46">
                  <c:v>1.9166666666666667</c:v>
                </c:pt>
                <c:pt idx="47">
                  <c:v>1.9583333333333333</c:v>
                </c:pt>
                <c:pt idx="48">
                  <c:v>2</c:v>
                </c:pt>
                <c:pt idx="49">
                  <c:v>2.0416666666666665</c:v>
                </c:pt>
                <c:pt idx="50">
                  <c:v>2.0833333333333335</c:v>
                </c:pt>
                <c:pt idx="51">
                  <c:v>2.125</c:v>
                </c:pt>
                <c:pt idx="52">
                  <c:v>2.1666666666666665</c:v>
                </c:pt>
                <c:pt idx="53">
                  <c:v>2.2083333333333335</c:v>
                </c:pt>
                <c:pt idx="54">
                  <c:v>2.25</c:v>
                </c:pt>
                <c:pt idx="55">
                  <c:v>2.2916666666666665</c:v>
                </c:pt>
                <c:pt idx="56">
                  <c:v>2.3333333333333335</c:v>
                </c:pt>
                <c:pt idx="57">
                  <c:v>2.375</c:v>
                </c:pt>
                <c:pt idx="58">
                  <c:v>2.4166666666666665</c:v>
                </c:pt>
                <c:pt idx="59">
                  <c:v>2.4583333333333335</c:v>
                </c:pt>
                <c:pt idx="60">
                  <c:v>2.5</c:v>
                </c:pt>
                <c:pt idx="61">
                  <c:v>2.5416666666666665</c:v>
                </c:pt>
                <c:pt idx="62">
                  <c:v>2.5833333333333335</c:v>
                </c:pt>
                <c:pt idx="63">
                  <c:v>2.625</c:v>
                </c:pt>
                <c:pt idx="64">
                  <c:v>2.6666666666666665</c:v>
                </c:pt>
                <c:pt idx="65">
                  <c:v>2.7083333333333335</c:v>
                </c:pt>
                <c:pt idx="66">
                  <c:v>2.75</c:v>
                </c:pt>
                <c:pt idx="67">
                  <c:v>2.7916666666666665</c:v>
                </c:pt>
                <c:pt idx="68">
                  <c:v>2.8333333333333335</c:v>
                </c:pt>
                <c:pt idx="69">
                  <c:v>2.875</c:v>
                </c:pt>
                <c:pt idx="70">
                  <c:v>2.9166666666666665</c:v>
                </c:pt>
                <c:pt idx="71">
                  <c:v>2.9583333333333335</c:v>
                </c:pt>
                <c:pt idx="72">
                  <c:v>3</c:v>
                </c:pt>
                <c:pt idx="73">
                  <c:v>3.0416666666666665</c:v>
                </c:pt>
                <c:pt idx="74">
                  <c:v>3.0833333333333335</c:v>
                </c:pt>
                <c:pt idx="75">
                  <c:v>3.125</c:v>
                </c:pt>
                <c:pt idx="76">
                  <c:v>3.1666666666666665</c:v>
                </c:pt>
                <c:pt idx="77">
                  <c:v>3.2083333333333335</c:v>
                </c:pt>
                <c:pt idx="78">
                  <c:v>3.25</c:v>
                </c:pt>
                <c:pt idx="79">
                  <c:v>3.2916666666666665</c:v>
                </c:pt>
                <c:pt idx="80">
                  <c:v>3.3333333333333335</c:v>
                </c:pt>
                <c:pt idx="81">
                  <c:v>3.375</c:v>
                </c:pt>
                <c:pt idx="82">
                  <c:v>3.4166666666666665</c:v>
                </c:pt>
                <c:pt idx="83">
                  <c:v>3.4583333333333335</c:v>
                </c:pt>
                <c:pt idx="84">
                  <c:v>3.5</c:v>
                </c:pt>
                <c:pt idx="85">
                  <c:v>3.5416666666666665</c:v>
                </c:pt>
                <c:pt idx="86">
                  <c:v>3.5833333333333335</c:v>
                </c:pt>
                <c:pt idx="87">
                  <c:v>3.625</c:v>
                </c:pt>
                <c:pt idx="88">
                  <c:v>3.6666666666666665</c:v>
                </c:pt>
                <c:pt idx="89">
                  <c:v>3.7083333333333335</c:v>
                </c:pt>
                <c:pt idx="90">
                  <c:v>3.75</c:v>
                </c:pt>
                <c:pt idx="91">
                  <c:v>3.7916666666666665</c:v>
                </c:pt>
                <c:pt idx="92">
                  <c:v>3.8333333333333335</c:v>
                </c:pt>
                <c:pt idx="93">
                  <c:v>3.875</c:v>
                </c:pt>
                <c:pt idx="94">
                  <c:v>3.9166666666666665</c:v>
                </c:pt>
                <c:pt idx="95">
                  <c:v>3.9583333333333335</c:v>
                </c:pt>
                <c:pt idx="96">
                  <c:v>4</c:v>
                </c:pt>
                <c:pt idx="97">
                  <c:v>4.041666666666667</c:v>
                </c:pt>
                <c:pt idx="98">
                  <c:v>4.083333333333333</c:v>
                </c:pt>
                <c:pt idx="99">
                  <c:v>4.125</c:v>
                </c:pt>
                <c:pt idx="100">
                  <c:v>4.166666666666667</c:v>
                </c:pt>
                <c:pt idx="101">
                  <c:v>4.208333333333333</c:v>
                </c:pt>
                <c:pt idx="102">
                  <c:v>4.25</c:v>
                </c:pt>
                <c:pt idx="103">
                  <c:v>4.291666666666667</c:v>
                </c:pt>
                <c:pt idx="104">
                  <c:v>4.333333333333333</c:v>
                </c:pt>
                <c:pt idx="105">
                  <c:v>4.375</c:v>
                </c:pt>
                <c:pt idx="106">
                  <c:v>4.416666666666667</c:v>
                </c:pt>
                <c:pt idx="107">
                  <c:v>4.458333333333333</c:v>
                </c:pt>
                <c:pt idx="108">
                  <c:v>4.5</c:v>
                </c:pt>
                <c:pt idx="109">
                  <c:v>4.541666666666667</c:v>
                </c:pt>
                <c:pt idx="110">
                  <c:v>4.583333333333333</c:v>
                </c:pt>
                <c:pt idx="111">
                  <c:v>4.625</c:v>
                </c:pt>
                <c:pt idx="112">
                  <c:v>4.666666666666667</c:v>
                </c:pt>
                <c:pt idx="113">
                  <c:v>4.708333333333333</c:v>
                </c:pt>
                <c:pt idx="114">
                  <c:v>4.75</c:v>
                </c:pt>
                <c:pt idx="115">
                  <c:v>4.791666666666667</c:v>
                </c:pt>
                <c:pt idx="116">
                  <c:v>4.833333333333333</c:v>
                </c:pt>
                <c:pt idx="117">
                  <c:v>4.875</c:v>
                </c:pt>
                <c:pt idx="118">
                  <c:v>4.916666666666667</c:v>
                </c:pt>
                <c:pt idx="119">
                  <c:v>4.958333333333333</c:v>
                </c:pt>
                <c:pt idx="120">
                  <c:v>5</c:v>
                </c:pt>
                <c:pt idx="121">
                  <c:v>5.041666666666667</c:v>
                </c:pt>
                <c:pt idx="122">
                  <c:v>5.083333333333333</c:v>
                </c:pt>
                <c:pt idx="123">
                  <c:v>5.125</c:v>
                </c:pt>
                <c:pt idx="124">
                  <c:v>5.166666666666667</c:v>
                </c:pt>
                <c:pt idx="125">
                  <c:v>5.208333333333333</c:v>
                </c:pt>
                <c:pt idx="126">
                  <c:v>5.25</c:v>
                </c:pt>
                <c:pt idx="127">
                  <c:v>5.291666666666667</c:v>
                </c:pt>
                <c:pt idx="128">
                  <c:v>5.333333333333333</c:v>
                </c:pt>
                <c:pt idx="129">
                  <c:v>5.375</c:v>
                </c:pt>
                <c:pt idx="130">
                  <c:v>5.416666666666667</c:v>
                </c:pt>
                <c:pt idx="131">
                  <c:v>5.458333333333333</c:v>
                </c:pt>
                <c:pt idx="132">
                  <c:v>5.5</c:v>
                </c:pt>
                <c:pt idx="133">
                  <c:v>5.541666666666667</c:v>
                </c:pt>
                <c:pt idx="134">
                  <c:v>5.583333333333333</c:v>
                </c:pt>
                <c:pt idx="135">
                  <c:v>5.625</c:v>
                </c:pt>
                <c:pt idx="136">
                  <c:v>5.666666666666667</c:v>
                </c:pt>
                <c:pt idx="137">
                  <c:v>5.708333333333333</c:v>
                </c:pt>
                <c:pt idx="138">
                  <c:v>5.75</c:v>
                </c:pt>
                <c:pt idx="139">
                  <c:v>5.791666666666667</c:v>
                </c:pt>
                <c:pt idx="140">
                  <c:v>5.833333333333333</c:v>
                </c:pt>
                <c:pt idx="141">
                  <c:v>5.875</c:v>
                </c:pt>
                <c:pt idx="142">
                  <c:v>5.916666666666667</c:v>
                </c:pt>
                <c:pt idx="143">
                  <c:v>5.958333333333333</c:v>
                </c:pt>
                <c:pt idx="144">
                  <c:v>6</c:v>
                </c:pt>
                <c:pt idx="145">
                  <c:v>6.041666666666667</c:v>
                </c:pt>
                <c:pt idx="146">
                  <c:v>6.083333333333333</c:v>
                </c:pt>
                <c:pt idx="147">
                  <c:v>6.125</c:v>
                </c:pt>
                <c:pt idx="148">
                  <c:v>6.166666666666667</c:v>
                </c:pt>
                <c:pt idx="149">
                  <c:v>6.208333333333333</c:v>
                </c:pt>
                <c:pt idx="150">
                  <c:v>6.25</c:v>
                </c:pt>
                <c:pt idx="151">
                  <c:v>6.291666666666667</c:v>
                </c:pt>
                <c:pt idx="152">
                  <c:v>6.333333333333333</c:v>
                </c:pt>
                <c:pt idx="153">
                  <c:v>6.375</c:v>
                </c:pt>
                <c:pt idx="154">
                  <c:v>6.416666666666667</c:v>
                </c:pt>
                <c:pt idx="155">
                  <c:v>6.458333333333333</c:v>
                </c:pt>
                <c:pt idx="156">
                  <c:v>6.5</c:v>
                </c:pt>
                <c:pt idx="157">
                  <c:v>6.541666666666667</c:v>
                </c:pt>
                <c:pt idx="158">
                  <c:v>6.583333333333333</c:v>
                </c:pt>
                <c:pt idx="159">
                  <c:v>6.625</c:v>
                </c:pt>
                <c:pt idx="160">
                  <c:v>6.666666666666667</c:v>
                </c:pt>
                <c:pt idx="161">
                  <c:v>6.708333333333333</c:v>
                </c:pt>
                <c:pt idx="162">
                  <c:v>6.75</c:v>
                </c:pt>
                <c:pt idx="163">
                  <c:v>6.791666666666667</c:v>
                </c:pt>
                <c:pt idx="164">
                  <c:v>6.833333333333333</c:v>
                </c:pt>
                <c:pt idx="165">
                  <c:v>6.875</c:v>
                </c:pt>
                <c:pt idx="166">
                  <c:v>6.916666666666667</c:v>
                </c:pt>
                <c:pt idx="167">
                  <c:v>6.958333333333333</c:v>
                </c:pt>
                <c:pt idx="168">
                  <c:v>7</c:v>
                </c:pt>
                <c:pt idx="169">
                  <c:v>7.041666666666667</c:v>
                </c:pt>
                <c:pt idx="170">
                  <c:v>7.083333333333333</c:v>
                </c:pt>
                <c:pt idx="171">
                  <c:v>7.125</c:v>
                </c:pt>
                <c:pt idx="172">
                  <c:v>7.166666666666667</c:v>
                </c:pt>
                <c:pt idx="173">
                  <c:v>7.208333333333333</c:v>
                </c:pt>
                <c:pt idx="174">
                  <c:v>7.25</c:v>
                </c:pt>
                <c:pt idx="175">
                  <c:v>7.291666666666667</c:v>
                </c:pt>
                <c:pt idx="176">
                  <c:v>7.333333333333333</c:v>
                </c:pt>
                <c:pt idx="177">
                  <c:v>7.375</c:v>
                </c:pt>
                <c:pt idx="178">
                  <c:v>7.416666666666667</c:v>
                </c:pt>
                <c:pt idx="179">
                  <c:v>7.458333333333333</c:v>
                </c:pt>
                <c:pt idx="180">
                  <c:v>7.5</c:v>
                </c:pt>
                <c:pt idx="181">
                  <c:v>7.541666666666667</c:v>
                </c:pt>
                <c:pt idx="182">
                  <c:v>7.583333333333333</c:v>
                </c:pt>
                <c:pt idx="183">
                  <c:v>7.625</c:v>
                </c:pt>
                <c:pt idx="184">
                  <c:v>7.666666666666667</c:v>
                </c:pt>
                <c:pt idx="185">
                  <c:v>7.708333333333333</c:v>
                </c:pt>
                <c:pt idx="186">
                  <c:v>7.75</c:v>
                </c:pt>
                <c:pt idx="187">
                  <c:v>7.791666666666667</c:v>
                </c:pt>
                <c:pt idx="188">
                  <c:v>7.833333333333333</c:v>
                </c:pt>
                <c:pt idx="189">
                  <c:v>7.875</c:v>
                </c:pt>
                <c:pt idx="190">
                  <c:v>7.916666666666667</c:v>
                </c:pt>
                <c:pt idx="191">
                  <c:v>7.958333333333333</c:v>
                </c:pt>
                <c:pt idx="192">
                  <c:v>8</c:v>
                </c:pt>
                <c:pt idx="193">
                  <c:v>8.0416666666666661</c:v>
                </c:pt>
                <c:pt idx="194">
                  <c:v>8.0833333333333339</c:v>
                </c:pt>
                <c:pt idx="195">
                  <c:v>8.125</c:v>
                </c:pt>
                <c:pt idx="196">
                  <c:v>8.1666666666666661</c:v>
                </c:pt>
                <c:pt idx="197">
                  <c:v>8.2083333333333339</c:v>
                </c:pt>
                <c:pt idx="198">
                  <c:v>8.25</c:v>
                </c:pt>
                <c:pt idx="199">
                  <c:v>8.2916666666666661</c:v>
                </c:pt>
                <c:pt idx="200">
                  <c:v>8.3333333333333339</c:v>
                </c:pt>
                <c:pt idx="201">
                  <c:v>8.375</c:v>
                </c:pt>
                <c:pt idx="202">
                  <c:v>8.4166666666666661</c:v>
                </c:pt>
                <c:pt idx="203">
                  <c:v>8.4583333333333339</c:v>
                </c:pt>
                <c:pt idx="204">
                  <c:v>8.5</c:v>
                </c:pt>
                <c:pt idx="205">
                  <c:v>8.5416666666666661</c:v>
                </c:pt>
                <c:pt idx="206">
                  <c:v>8.5833333333333339</c:v>
                </c:pt>
                <c:pt idx="207">
                  <c:v>8.625</c:v>
                </c:pt>
                <c:pt idx="208">
                  <c:v>8.6666666666666661</c:v>
                </c:pt>
                <c:pt idx="209">
                  <c:v>8.7083333333333339</c:v>
                </c:pt>
                <c:pt idx="210">
                  <c:v>8.75</c:v>
                </c:pt>
                <c:pt idx="211">
                  <c:v>8.7916666666666661</c:v>
                </c:pt>
                <c:pt idx="212">
                  <c:v>8.8333333333333339</c:v>
                </c:pt>
                <c:pt idx="213">
                  <c:v>8.875</c:v>
                </c:pt>
                <c:pt idx="214">
                  <c:v>8.9166666666666661</c:v>
                </c:pt>
                <c:pt idx="215">
                  <c:v>8.9583333333333339</c:v>
                </c:pt>
                <c:pt idx="216">
                  <c:v>9</c:v>
                </c:pt>
                <c:pt idx="217">
                  <c:v>9.0416666666666661</c:v>
                </c:pt>
                <c:pt idx="218">
                  <c:v>9.0833333333333339</c:v>
                </c:pt>
                <c:pt idx="219">
                  <c:v>9.125</c:v>
                </c:pt>
                <c:pt idx="220">
                  <c:v>9.1666666666666661</c:v>
                </c:pt>
                <c:pt idx="221">
                  <c:v>9.2083333333333339</c:v>
                </c:pt>
                <c:pt idx="222">
                  <c:v>9.25</c:v>
                </c:pt>
                <c:pt idx="223">
                  <c:v>9.2916666666666661</c:v>
                </c:pt>
                <c:pt idx="224">
                  <c:v>9.3333333333333339</c:v>
                </c:pt>
                <c:pt idx="225">
                  <c:v>9.375</c:v>
                </c:pt>
                <c:pt idx="226">
                  <c:v>9.4166666666666661</c:v>
                </c:pt>
                <c:pt idx="227">
                  <c:v>9.4583333333333339</c:v>
                </c:pt>
                <c:pt idx="228">
                  <c:v>9.5</c:v>
                </c:pt>
                <c:pt idx="229">
                  <c:v>9.5416666666666661</c:v>
                </c:pt>
                <c:pt idx="230">
                  <c:v>9.5833333333333339</c:v>
                </c:pt>
                <c:pt idx="231">
                  <c:v>9.625</c:v>
                </c:pt>
                <c:pt idx="232">
                  <c:v>9.6666666666666661</c:v>
                </c:pt>
                <c:pt idx="233">
                  <c:v>9.7083333333333339</c:v>
                </c:pt>
                <c:pt idx="234">
                  <c:v>9.75</c:v>
                </c:pt>
                <c:pt idx="235">
                  <c:v>9.7916666666666661</c:v>
                </c:pt>
                <c:pt idx="236">
                  <c:v>9.8333333333333339</c:v>
                </c:pt>
                <c:pt idx="237">
                  <c:v>9.875</c:v>
                </c:pt>
                <c:pt idx="238">
                  <c:v>9.9166666666666661</c:v>
                </c:pt>
                <c:pt idx="239">
                  <c:v>9.9583333333333339</c:v>
                </c:pt>
                <c:pt idx="240">
                  <c:v>10</c:v>
                </c:pt>
                <c:pt idx="241">
                  <c:v>10.041666666666666</c:v>
                </c:pt>
                <c:pt idx="242">
                  <c:v>10.083333333333334</c:v>
                </c:pt>
                <c:pt idx="243">
                  <c:v>10.125</c:v>
                </c:pt>
                <c:pt idx="244">
                  <c:v>10.166666666666666</c:v>
                </c:pt>
                <c:pt idx="245">
                  <c:v>10.208333333333334</c:v>
                </c:pt>
                <c:pt idx="246">
                  <c:v>10.25</c:v>
                </c:pt>
                <c:pt idx="247">
                  <c:v>10.291666666666666</c:v>
                </c:pt>
                <c:pt idx="248">
                  <c:v>10.333333333333334</c:v>
                </c:pt>
                <c:pt idx="249">
                  <c:v>10.375</c:v>
                </c:pt>
                <c:pt idx="250">
                  <c:v>10.416666666666666</c:v>
                </c:pt>
                <c:pt idx="251">
                  <c:v>10.458333333333334</c:v>
                </c:pt>
                <c:pt idx="252">
                  <c:v>10.5</c:v>
                </c:pt>
                <c:pt idx="253">
                  <c:v>10.541666666666666</c:v>
                </c:pt>
                <c:pt idx="254">
                  <c:v>10.583333333333334</c:v>
                </c:pt>
                <c:pt idx="255">
                  <c:v>10.625</c:v>
                </c:pt>
                <c:pt idx="256">
                  <c:v>10.666666666666666</c:v>
                </c:pt>
                <c:pt idx="257">
                  <c:v>10.708333333333334</c:v>
                </c:pt>
                <c:pt idx="258">
                  <c:v>10.75</c:v>
                </c:pt>
                <c:pt idx="259">
                  <c:v>10.791666666666666</c:v>
                </c:pt>
                <c:pt idx="260">
                  <c:v>10.833333333333334</c:v>
                </c:pt>
                <c:pt idx="261">
                  <c:v>10.875</c:v>
                </c:pt>
                <c:pt idx="262">
                  <c:v>10.916666666666666</c:v>
                </c:pt>
                <c:pt idx="263">
                  <c:v>10.958333333333334</c:v>
                </c:pt>
                <c:pt idx="264">
                  <c:v>11</c:v>
                </c:pt>
                <c:pt idx="265">
                  <c:v>11.041666666666666</c:v>
                </c:pt>
                <c:pt idx="266">
                  <c:v>11.083333333333334</c:v>
                </c:pt>
                <c:pt idx="267">
                  <c:v>11.125</c:v>
                </c:pt>
                <c:pt idx="268">
                  <c:v>11.166666666666666</c:v>
                </c:pt>
                <c:pt idx="269">
                  <c:v>11.208333333333334</c:v>
                </c:pt>
                <c:pt idx="270">
                  <c:v>11.25</c:v>
                </c:pt>
                <c:pt idx="271">
                  <c:v>11.291666666666666</c:v>
                </c:pt>
                <c:pt idx="272">
                  <c:v>11.333333333333334</c:v>
                </c:pt>
                <c:pt idx="273">
                  <c:v>11.375</c:v>
                </c:pt>
                <c:pt idx="274">
                  <c:v>11.416666666666666</c:v>
                </c:pt>
                <c:pt idx="275">
                  <c:v>11.458333333333334</c:v>
                </c:pt>
                <c:pt idx="276">
                  <c:v>11.5</c:v>
                </c:pt>
                <c:pt idx="277">
                  <c:v>11.541666666666666</c:v>
                </c:pt>
                <c:pt idx="278">
                  <c:v>11.583333333333334</c:v>
                </c:pt>
                <c:pt idx="279">
                  <c:v>11.625</c:v>
                </c:pt>
                <c:pt idx="280">
                  <c:v>11.666666666666666</c:v>
                </c:pt>
                <c:pt idx="281">
                  <c:v>11.708333333333334</c:v>
                </c:pt>
                <c:pt idx="282">
                  <c:v>11.75</c:v>
                </c:pt>
                <c:pt idx="283">
                  <c:v>11.791666666666666</c:v>
                </c:pt>
                <c:pt idx="284">
                  <c:v>11.833333333333334</c:v>
                </c:pt>
                <c:pt idx="285">
                  <c:v>11.875</c:v>
                </c:pt>
                <c:pt idx="286">
                  <c:v>11.916666666666666</c:v>
                </c:pt>
                <c:pt idx="287">
                  <c:v>11.958333333333334</c:v>
                </c:pt>
                <c:pt idx="288">
                  <c:v>12</c:v>
                </c:pt>
                <c:pt idx="289">
                  <c:v>12.041666666666666</c:v>
                </c:pt>
                <c:pt idx="290">
                  <c:v>12.083333333333334</c:v>
                </c:pt>
                <c:pt idx="291">
                  <c:v>12.125</c:v>
                </c:pt>
                <c:pt idx="292">
                  <c:v>12.166666666666666</c:v>
                </c:pt>
                <c:pt idx="293">
                  <c:v>12.208333333333334</c:v>
                </c:pt>
                <c:pt idx="294">
                  <c:v>12.25</c:v>
                </c:pt>
                <c:pt idx="295">
                  <c:v>12.291666666666666</c:v>
                </c:pt>
                <c:pt idx="296">
                  <c:v>12.333333333333334</c:v>
                </c:pt>
                <c:pt idx="297">
                  <c:v>12.375</c:v>
                </c:pt>
                <c:pt idx="298">
                  <c:v>12.416666666666666</c:v>
                </c:pt>
                <c:pt idx="299">
                  <c:v>12.458333333333334</c:v>
                </c:pt>
                <c:pt idx="300">
                  <c:v>12.5</c:v>
                </c:pt>
                <c:pt idx="301">
                  <c:v>12.541666666666666</c:v>
                </c:pt>
                <c:pt idx="302">
                  <c:v>12.583333333333334</c:v>
                </c:pt>
                <c:pt idx="303">
                  <c:v>12.625</c:v>
                </c:pt>
                <c:pt idx="304">
                  <c:v>12.666666666666666</c:v>
                </c:pt>
                <c:pt idx="305">
                  <c:v>12.708333333333334</c:v>
                </c:pt>
                <c:pt idx="306">
                  <c:v>12.75</c:v>
                </c:pt>
                <c:pt idx="307">
                  <c:v>12.791666666666666</c:v>
                </c:pt>
                <c:pt idx="308">
                  <c:v>12.833333333333334</c:v>
                </c:pt>
                <c:pt idx="309">
                  <c:v>12.875</c:v>
                </c:pt>
                <c:pt idx="310">
                  <c:v>12.916666666666666</c:v>
                </c:pt>
                <c:pt idx="311">
                  <c:v>12.958333333333334</c:v>
                </c:pt>
                <c:pt idx="312">
                  <c:v>13</c:v>
                </c:pt>
                <c:pt idx="313">
                  <c:v>13.041666666666666</c:v>
                </c:pt>
                <c:pt idx="314">
                  <c:v>13.083333333333334</c:v>
                </c:pt>
                <c:pt idx="315">
                  <c:v>13.125</c:v>
                </c:pt>
                <c:pt idx="316">
                  <c:v>13.166666666666666</c:v>
                </c:pt>
                <c:pt idx="317">
                  <c:v>13.208333333333334</c:v>
                </c:pt>
                <c:pt idx="318">
                  <c:v>13.25</c:v>
                </c:pt>
                <c:pt idx="319">
                  <c:v>13.291666666666666</c:v>
                </c:pt>
                <c:pt idx="320">
                  <c:v>13.333333333333334</c:v>
                </c:pt>
                <c:pt idx="321">
                  <c:v>13.375</c:v>
                </c:pt>
                <c:pt idx="322">
                  <c:v>13.416666666666666</c:v>
                </c:pt>
                <c:pt idx="323">
                  <c:v>13.458333333333334</c:v>
                </c:pt>
                <c:pt idx="324">
                  <c:v>13.5</c:v>
                </c:pt>
                <c:pt idx="325">
                  <c:v>13.541666666666666</c:v>
                </c:pt>
                <c:pt idx="326">
                  <c:v>13.583333333333334</c:v>
                </c:pt>
                <c:pt idx="327">
                  <c:v>13.625</c:v>
                </c:pt>
                <c:pt idx="328">
                  <c:v>13.666666666666666</c:v>
                </c:pt>
                <c:pt idx="329">
                  <c:v>13.708333333333334</c:v>
                </c:pt>
                <c:pt idx="330">
                  <c:v>13.75</c:v>
                </c:pt>
                <c:pt idx="331">
                  <c:v>13.791666666666666</c:v>
                </c:pt>
                <c:pt idx="332">
                  <c:v>13.833333333333334</c:v>
                </c:pt>
                <c:pt idx="333">
                  <c:v>13.875</c:v>
                </c:pt>
                <c:pt idx="334">
                  <c:v>13.916666666666666</c:v>
                </c:pt>
                <c:pt idx="335">
                  <c:v>13.958333333333334</c:v>
                </c:pt>
                <c:pt idx="336">
                  <c:v>14</c:v>
                </c:pt>
                <c:pt idx="337">
                  <c:v>14.041666666666666</c:v>
                </c:pt>
                <c:pt idx="338">
                  <c:v>14.083333333333334</c:v>
                </c:pt>
                <c:pt idx="339">
                  <c:v>14.125</c:v>
                </c:pt>
                <c:pt idx="340">
                  <c:v>14.166666666666666</c:v>
                </c:pt>
                <c:pt idx="341">
                  <c:v>14.208333333333334</c:v>
                </c:pt>
                <c:pt idx="342">
                  <c:v>14.25</c:v>
                </c:pt>
                <c:pt idx="343">
                  <c:v>14.291666666666666</c:v>
                </c:pt>
                <c:pt idx="344">
                  <c:v>14.333333333333334</c:v>
                </c:pt>
                <c:pt idx="345">
                  <c:v>14.375</c:v>
                </c:pt>
                <c:pt idx="346">
                  <c:v>14.416666666666666</c:v>
                </c:pt>
                <c:pt idx="347">
                  <c:v>14.458333333333334</c:v>
                </c:pt>
                <c:pt idx="348">
                  <c:v>14.5</c:v>
                </c:pt>
                <c:pt idx="349">
                  <c:v>14.541666666666666</c:v>
                </c:pt>
                <c:pt idx="350">
                  <c:v>14.583333333333334</c:v>
                </c:pt>
                <c:pt idx="351">
                  <c:v>14.625</c:v>
                </c:pt>
                <c:pt idx="352">
                  <c:v>14.666666666666666</c:v>
                </c:pt>
                <c:pt idx="353">
                  <c:v>14.708333333333334</c:v>
                </c:pt>
                <c:pt idx="354">
                  <c:v>14.75</c:v>
                </c:pt>
                <c:pt idx="355">
                  <c:v>14.791666666666666</c:v>
                </c:pt>
                <c:pt idx="356">
                  <c:v>14.833333333333334</c:v>
                </c:pt>
                <c:pt idx="357">
                  <c:v>14.875</c:v>
                </c:pt>
                <c:pt idx="358">
                  <c:v>14.916666666666666</c:v>
                </c:pt>
                <c:pt idx="359">
                  <c:v>14.958333333333334</c:v>
                </c:pt>
                <c:pt idx="360">
                  <c:v>15</c:v>
                </c:pt>
                <c:pt idx="361">
                  <c:v>15.041666666666666</c:v>
                </c:pt>
                <c:pt idx="362">
                  <c:v>15.083333333333334</c:v>
                </c:pt>
                <c:pt idx="363">
                  <c:v>15.125</c:v>
                </c:pt>
                <c:pt idx="364">
                  <c:v>15.166666666666666</c:v>
                </c:pt>
                <c:pt idx="365">
                  <c:v>15.208333333333334</c:v>
                </c:pt>
                <c:pt idx="366">
                  <c:v>15.25</c:v>
                </c:pt>
                <c:pt idx="367">
                  <c:v>15.291666666666666</c:v>
                </c:pt>
                <c:pt idx="368">
                  <c:v>15.333333333333334</c:v>
                </c:pt>
                <c:pt idx="369">
                  <c:v>15.375</c:v>
                </c:pt>
                <c:pt idx="370">
                  <c:v>15.416666666666666</c:v>
                </c:pt>
                <c:pt idx="371">
                  <c:v>15.458333333333334</c:v>
                </c:pt>
                <c:pt idx="372">
                  <c:v>15.5</c:v>
                </c:pt>
                <c:pt idx="373">
                  <c:v>15.541666666666666</c:v>
                </c:pt>
                <c:pt idx="374">
                  <c:v>15.583333333333334</c:v>
                </c:pt>
                <c:pt idx="375">
                  <c:v>15.625</c:v>
                </c:pt>
                <c:pt idx="376">
                  <c:v>15.666666666666666</c:v>
                </c:pt>
                <c:pt idx="377">
                  <c:v>15.708333333333334</c:v>
                </c:pt>
                <c:pt idx="378">
                  <c:v>15.75</c:v>
                </c:pt>
                <c:pt idx="379">
                  <c:v>15.791666666666666</c:v>
                </c:pt>
                <c:pt idx="380">
                  <c:v>15.833333333333334</c:v>
                </c:pt>
                <c:pt idx="381">
                  <c:v>15.875</c:v>
                </c:pt>
                <c:pt idx="382">
                  <c:v>15.916666666666666</c:v>
                </c:pt>
                <c:pt idx="383">
                  <c:v>15.958333333333334</c:v>
                </c:pt>
                <c:pt idx="384">
                  <c:v>16</c:v>
                </c:pt>
                <c:pt idx="385">
                  <c:v>16.041666666666668</c:v>
                </c:pt>
                <c:pt idx="386">
                  <c:v>16.083333333333332</c:v>
                </c:pt>
                <c:pt idx="387">
                  <c:v>16.125</c:v>
                </c:pt>
                <c:pt idx="388">
                  <c:v>16.166666666666668</c:v>
                </c:pt>
                <c:pt idx="389">
                  <c:v>16.208333333333332</c:v>
                </c:pt>
                <c:pt idx="390">
                  <c:v>16.25</c:v>
                </c:pt>
                <c:pt idx="391">
                  <c:v>16.291666666666668</c:v>
                </c:pt>
                <c:pt idx="392">
                  <c:v>16.333333333333332</c:v>
                </c:pt>
                <c:pt idx="393">
                  <c:v>16.375</c:v>
                </c:pt>
                <c:pt idx="394">
                  <c:v>16.416666666666668</c:v>
                </c:pt>
                <c:pt idx="395">
                  <c:v>16.458333333333332</c:v>
                </c:pt>
                <c:pt idx="396">
                  <c:v>16.5</c:v>
                </c:pt>
                <c:pt idx="397">
                  <c:v>16.541666666666668</c:v>
                </c:pt>
                <c:pt idx="398">
                  <c:v>16.583333333333332</c:v>
                </c:pt>
                <c:pt idx="399">
                  <c:v>16.625</c:v>
                </c:pt>
                <c:pt idx="400">
                  <c:v>16.666666666666668</c:v>
                </c:pt>
                <c:pt idx="401">
                  <c:v>16.708333333333332</c:v>
                </c:pt>
                <c:pt idx="402">
                  <c:v>16.75</c:v>
                </c:pt>
                <c:pt idx="403">
                  <c:v>16.791666666666668</c:v>
                </c:pt>
                <c:pt idx="404">
                  <c:v>16.833333333333332</c:v>
                </c:pt>
                <c:pt idx="405">
                  <c:v>16.875</c:v>
                </c:pt>
                <c:pt idx="406">
                  <c:v>16.916666666666668</c:v>
                </c:pt>
                <c:pt idx="407">
                  <c:v>16.958333333333332</c:v>
                </c:pt>
                <c:pt idx="408">
                  <c:v>17</c:v>
                </c:pt>
                <c:pt idx="409">
                  <c:v>17.041666666666668</c:v>
                </c:pt>
                <c:pt idx="410">
                  <c:v>17.083333333333332</c:v>
                </c:pt>
                <c:pt idx="411">
                  <c:v>17.125</c:v>
                </c:pt>
                <c:pt idx="412">
                  <c:v>17.166666666666668</c:v>
                </c:pt>
                <c:pt idx="413">
                  <c:v>17.208333333333332</c:v>
                </c:pt>
                <c:pt idx="414">
                  <c:v>17.25</c:v>
                </c:pt>
                <c:pt idx="415">
                  <c:v>17.291666666666668</c:v>
                </c:pt>
                <c:pt idx="416">
                  <c:v>17.333333333333332</c:v>
                </c:pt>
                <c:pt idx="417">
                  <c:v>17.375</c:v>
                </c:pt>
                <c:pt idx="418">
                  <c:v>17.416666666666668</c:v>
                </c:pt>
                <c:pt idx="419">
                  <c:v>17.458333333333332</c:v>
                </c:pt>
                <c:pt idx="420">
                  <c:v>17.5</c:v>
                </c:pt>
                <c:pt idx="421">
                  <c:v>17.541666666666668</c:v>
                </c:pt>
                <c:pt idx="422">
                  <c:v>17.583333333333332</c:v>
                </c:pt>
                <c:pt idx="423">
                  <c:v>17.625</c:v>
                </c:pt>
                <c:pt idx="424">
                  <c:v>17.666666666666668</c:v>
                </c:pt>
                <c:pt idx="425">
                  <c:v>17.708333333333332</c:v>
                </c:pt>
                <c:pt idx="426">
                  <c:v>17.75</c:v>
                </c:pt>
                <c:pt idx="427">
                  <c:v>17.791666666666668</c:v>
                </c:pt>
                <c:pt idx="428">
                  <c:v>17.833333333333332</c:v>
                </c:pt>
                <c:pt idx="429">
                  <c:v>17.875</c:v>
                </c:pt>
                <c:pt idx="430">
                  <c:v>17.916666666666668</c:v>
                </c:pt>
                <c:pt idx="431">
                  <c:v>17.958333333333332</c:v>
                </c:pt>
                <c:pt idx="432">
                  <c:v>18</c:v>
                </c:pt>
                <c:pt idx="433">
                  <c:v>18.041666666666668</c:v>
                </c:pt>
                <c:pt idx="434">
                  <c:v>18.083333333333332</c:v>
                </c:pt>
                <c:pt idx="435">
                  <c:v>18.125</c:v>
                </c:pt>
                <c:pt idx="436">
                  <c:v>18.166666666666668</c:v>
                </c:pt>
                <c:pt idx="437">
                  <c:v>18.208333333333332</c:v>
                </c:pt>
                <c:pt idx="438">
                  <c:v>18.25</c:v>
                </c:pt>
                <c:pt idx="439">
                  <c:v>18.291666666666668</c:v>
                </c:pt>
                <c:pt idx="440">
                  <c:v>18.333333333333332</c:v>
                </c:pt>
                <c:pt idx="441">
                  <c:v>18.375</c:v>
                </c:pt>
                <c:pt idx="442">
                  <c:v>18.416666666666668</c:v>
                </c:pt>
                <c:pt idx="443">
                  <c:v>18.458333333333332</c:v>
                </c:pt>
                <c:pt idx="444">
                  <c:v>18.5</c:v>
                </c:pt>
                <c:pt idx="445">
                  <c:v>18.541666666666668</c:v>
                </c:pt>
                <c:pt idx="446">
                  <c:v>18.583333333333332</c:v>
                </c:pt>
                <c:pt idx="447">
                  <c:v>18.625</c:v>
                </c:pt>
                <c:pt idx="448">
                  <c:v>18.666666666666668</c:v>
                </c:pt>
                <c:pt idx="449">
                  <c:v>18.708333333333332</c:v>
                </c:pt>
                <c:pt idx="450">
                  <c:v>18.75</c:v>
                </c:pt>
                <c:pt idx="451">
                  <c:v>18.791666666666668</c:v>
                </c:pt>
                <c:pt idx="452">
                  <c:v>18.833333333333332</c:v>
                </c:pt>
                <c:pt idx="453">
                  <c:v>18.875</c:v>
                </c:pt>
                <c:pt idx="454">
                  <c:v>18.916666666666668</c:v>
                </c:pt>
                <c:pt idx="455">
                  <c:v>18.958333333333332</c:v>
                </c:pt>
                <c:pt idx="456">
                  <c:v>19</c:v>
                </c:pt>
                <c:pt idx="457">
                  <c:v>19.041666666666668</c:v>
                </c:pt>
                <c:pt idx="458">
                  <c:v>19.083333333333332</c:v>
                </c:pt>
                <c:pt idx="459">
                  <c:v>19.125</c:v>
                </c:pt>
                <c:pt idx="460">
                  <c:v>19.166666666666668</c:v>
                </c:pt>
                <c:pt idx="461">
                  <c:v>19.208333333333332</c:v>
                </c:pt>
                <c:pt idx="462">
                  <c:v>19.25</c:v>
                </c:pt>
                <c:pt idx="463">
                  <c:v>19.291666666666668</c:v>
                </c:pt>
                <c:pt idx="464">
                  <c:v>19.333333333333332</c:v>
                </c:pt>
                <c:pt idx="465">
                  <c:v>19.375</c:v>
                </c:pt>
                <c:pt idx="466">
                  <c:v>19.416666666666668</c:v>
                </c:pt>
                <c:pt idx="467">
                  <c:v>19.458333333333332</c:v>
                </c:pt>
                <c:pt idx="468">
                  <c:v>19.5</c:v>
                </c:pt>
                <c:pt idx="469">
                  <c:v>19.541666666666668</c:v>
                </c:pt>
                <c:pt idx="470">
                  <c:v>19.583333333333332</c:v>
                </c:pt>
                <c:pt idx="471">
                  <c:v>19.625</c:v>
                </c:pt>
                <c:pt idx="472">
                  <c:v>19.666666666666668</c:v>
                </c:pt>
                <c:pt idx="473">
                  <c:v>19.708333333333332</c:v>
                </c:pt>
                <c:pt idx="474">
                  <c:v>19.75</c:v>
                </c:pt>
                <c:pt idx="475">
                  <c:v>19.791666666666668</c:v>
                </c:pt>
                <c:pt idx="476">
                  <c:v>19.833333333333332</c:v>
                </c:pt>
                <c:pt idx="477">
                  <c:v>19.875</c:v>
                </c:pt>
                <c:pt idx="478">
                  <c:v>19.916666666666668</c:v>
                </c:pt>
                <c:pt idx="479">
                  <c:v>19.958333333333332</c:v>
                </c:pt>
                <c:pt idx="480">
                  <c:v>20</c:v>
                </c:pt>
                <c:pt idx="481">
                  <c:v>20.041666666666668</c:v>
                </c:pt>
                <c:pt idx="482">
                  <c:v>20.083333333333332</c:v>
                </c:pt>
                <c:pt idx="483">
                  <c:v>20.125</c:v>
                </c:pt>
                <c:pt idx="484">
                  <c:v>20.166666666666668</c:v>
                </c:pt>
                <c:pt idx="485">
                  <c:v>20.208333333333332</c:v>
                </c:pt>
                <c:pt idx="486">
                  <c:v>20.25</c:v>
                </c:pt>
                <c:pt idx="487">
                  <c:v>20.291666666666668</c:v>
                </c:pt>
                <c:pt idx="488">
                  <c:v>20.333333333333332</c:v>
                </c:pt>
                <c:pt idx="489">
                  <c:v>20.375</c:v>
                </c:pt>
                <c:pt idx="490">
                  <c:v>20.416666666666668</c:v>
                </c:pt>
                <c:pt idx="491">
                  <c:v>20.458333333333332</c:v>
                </c:pt>
                <c:pt idx="492">
                  <c:v>20.5</c:v>
                </c:pt>
                <c:pt idx="493">
                  <c:v>20.541666666666668</c:v>
                </c:pt>
                <c:pt idx="494">
                  <c:v>20.583333333333332</c:v>
                </c:pt>
                <c:pt idx="495">
                  <c:v>20.625</c:v>
                </c:pt>
                <c:pt idx="496">
                  <c:v>20.666666666666668</c:v>
                </c:pt>
                <c:pt idx="497">
                  <c:v>20.708333333333332</c:v>
                </c:pt>
                <c:pt idx="498">
                  <c:v>20.75</c:v>
                </c:pt>
                <c:pt idx="499">
                  <c:v>20.791666666666668</c:v>
                </c:pt>
                <c:pt idx="500">
                  <c:v>20.833333333333332</c:v>
                </c:pt>
                <c:pt idx="501">
                  <c:v>20.875</c:v>
                </c:pt>
                <c:pt idx="502">
                  <c:v>20.916666666666668</c:v>
                </c:pt>
                <c:pt idx="503">
                  <c:v>20.958333333333332</c:v>
                </c:pt>
                <c:pt idx="504">
                  <c:v>21</c:v>
                </c:pt>
                <c:pt idx="505">
                  <c:v>21.041666666666668</c:v>
                </c:pt>
                <c:pt idx="506">
                  <c:v>21.083333333333332</c:v>
                </c:pt>
                <c:pt idx="507">
                  <c:v>21.125</c:v>
                </c:pt>
                <c:pt idx="508">
                  <c:v>21.166666666666668</c:v>
                </c:pt>
                <c:pt idx="509">
                  <c:v>21.208333333333332</c:v>
                </c:pt>
                <c:pt idx="510">
                  <c:v>21.25</c:v>
                </c:pt>
                <c:pt idx="511">
                  <c:v>21.291666666666668</c:v>
                </c:pt>
                <c:pt idx="512">
                  <c:v>21.333333333333332</c:v>
                </c:pt>
                <c:pt idx="513">
                  <c:v>21.375</c:v>
                </c:pt>
                <c:pt idx="514">
                  <c:v>21.416666666666668</c:v>
                </c:pt>
                <c:pt idx="515">
                  <c:v>21.458333333333332</c:v>
                </c:pt>
                <c:pt idx="516">
                  <c:v>21.5</c:v>
                </c:pt>
                <c:pt idx="517">
                  <c:v>21.541666666666668</c:v>
                </c:pt>
                <c:pt idx="518">
                  <c:v>21.583333333333332</c:v>
                </c:pt>
                <c:pt idx="519">
                  <c:v>21.625</c:v>
                </c:pt>
                <c:pt idx="520">
                  <c:v>21.666666666666668</c:v>
                </c:pt>
                <c:pt idx="521">
                  <c:v>21.708333333333332</c:v>
                </c:pt>
                <c:pt idx="522">
                  <c:v>21.75</c:v>
                </c:pt>
                <c:pt idx="523">
                  <c:v>21.791666666666668</c:v>
                </c:pt>
                <c:pt idx="524">
                  <c:v>21.833333333333332</c:v>
                </c:pt>
                <c:pt idx="525">
                  <c:v>21.875</c:v>
                </c:pt>
                <c:pt idx="526">
                  <c:v>21.916666666666668</c:v>
                </c:pt>
                <c:pt idx="527">
                  <c:v>21.958333333333332</c:v>
                </c:pt>
                <c:pt idx="528">
                  <c:v>22</c:v>
                </c:pt>
                <c:pt idx="529">
                  <c:v>22.041666666666668</c:v>
                </c:pt>
                <c:pt idx="530">
                  <c:v>22.083333333333332</c:v>
                </c:pt>
                <c:pt idx="531">
                  <c:v>22.125</c:v>
                </c:pt>
                <c:pt idx="532">
                  <c:v>22.166666666666668</c:v>
                </c:pt>
                <c:pt idx="533">
                  <c:v>22.208333333333332</c:v>
                </c:pt>
                <c:pt idx="534">
                  <c:v>22.25</c:v>
                </c:pt>
                <c:pt idx="535">
                  <c:v>22.291666666666668</c:v>
                </c:pt>
                <c:pt idx="536">
                  <c:v>22.333333333333332</c:v>
                </c:pt>
                <c:pt idx="537">
                  <c:v>22.375</c:v>
                </c:pt>
                <c:pt idx="538">
                  <c:v>22.416666666666668</c:v>
                </c:pt>
                <c:pt idx="539">
                  <c:v>22.458333333333332</c:v>
                </c:pt>
                <c:pt idx="540">
                  <c:v>22.5</c:v>
                </c:pt>
                <c:pt idx="541">
                  <c:v>22.541666666666668</c:v>
                </c:pt>
                <c:pt idx="542">
                  <c:v>22.583333333333332</c:v>
                </c:pt>
                <c:pt idx="543">
                  <c:v>22.625</c:v>
                </c:pt>
                <c:pt idx="544">
                  <c:v>22.666666666666668</c:v>
                </c:pt>
                <c:pt idx="545">
                  <c:v>22.708333333333332</c:v>
                </c:pt>
                <c:pt idx="546">
                  <c:v>22.75</c:v>
                </c:pt>
                <c:pt idx="547">
                  <c:v>22.791666666666668</c:v>
                </c:pt>
                <c:pt idx="548">
                  <c:v>22.833333333333332</c:v>
                </c:pt>
                <c:pt idx="549">
                  <c:v>22.875</c:v>
                </c:pt>
                <c:pt idx="550">
                  <c:v>22.916666666666668</c:v>
                </c:pt>
                <c:pt idx="551">
                  <c:v>22.958333333333332</c:v>
                </c:pt>
                <c:pt idx="552">
                  <c:v>23</c:v>
                </c:pt>
                <c:pt idx="553">
                  <c:v>23.041666666666668</c:v>
                </c:pt>
                <c:pt idx="554">
                  <c:v>23.083333333333332</c:v>
                </c:pt>
                <c:pt idx="555">
                  <c:v>23.125</c:v>
                </c:pt>
                <c:pt idx="556">
                  <c:v>23.166666666666668</c:v>
                </c:pt>
                <c:pt idx="557">
                  <c:v>23.208333333333332</c:v>
                </c:pt>
                <c:pt idx="558">
                  <c:v>23.25</c:v>
                </c:pt>
                <c:pt idx="559">
                  <c:v>23.291666666666668</c:v>
                </c:pt>
                <c:pt idx="560">
                  <c:v>23.333333333333332</c:v>
                </c:pt>
                <c:pt idx="561">
                  <c:v>23.375</c:v>
                </c:pt>
                <c:pt idx="562">
                  <c:v>23.416666666666668</c:v>
                </c:pt>
                <c:pt idx="563">
                  <c:v>23.458333333333332</c:v>
                </c:pt>
                <c:pt idx="564">
                  <c:v>23.5</c:v>
                </c:pt>
                <c:pt idx="565">
                  <c:v>23.541666666666668</c:v>
                </c:pt>
                <c:pt idx="566">
                  <c:v>23.583333333333332</c:v>
                </c:pt>
                <c:pt idx="567">
                  <c:v>23.625</c:v>
                </c:pt>
                <c:pt idx="568">
                  <c:v>23.666666666666668</c:v>
                </c:pt>
                <c:pt idx="569">
                  <c:v>23.708333333333332</c:v>
                </c:pt>
                <c:pt idx="570">
                  <c:v>23.75</c:v>
                </c:pt>
                <c:pt idx="571">
                  <c:v>23.791666666666668</c:v>
                </c:pt>
                <c:pt idx="572">
                  <c:v>23.833333333333332</c:v>
                </c:pt>
                <c:pt idx="573">
                  <c:v>23.875</c:v>
                </c:pt>
                <c:pt idx="574">
                  <c:v>23.916666666666668</c:v>
                </c:pt>
                <c:pt idx="575">
                  <c:v>23.958333333333332</c:v>
                </c:pt>
                <c:pt idx="576">
                  <c:v>24</c:v>
                </c:pt>
                <c:pt idx="577">
                  <c:v>24.041666666666668</c:v>
                </c:pt>
                <c:pt idx="578">
                  <c:v>24.083333333333332</c:v>
                </c:pt>
                <c:pt idx="579">
                  <c:v>24.125</c:v>
                </c:pt>
                <c:pt idx="580">
                  <c:v>24.166666666666668</c:v>
                </c:pt>
                <c:pt idx="581">
                  <c:v>24.208333333333332</c:v>
                </c:pt>
                <c:pt idx="582">
                  <c:v>24.25</c:v>
                </c:pt>
                <c:pt idx="583">
                  <c:v>24.291666666666668</c:v>
                </c:pt>
                <c:pt idx="584">
                  <c:v>24.333333333333332</c:v>
                </c:pt>
                <c:pt idx="585">
                  <c:v>24.375</c:v>
                </c:pt>
                <c:pt idx="586">
                  <c:v>24.416666666666668</c:v>
                </c:pt>
                <c:pt idx="587">
                  <c:v>24.458333333333332</c:v>
                </c:pt>
                <c:pt idx="588">
                  <c:v>24.5</c:v>
                </c:pt>
                <c:pt idx="589">
                  <c:v>24.541666666666668</c:v>
                </c:pt>
                <c:pt idx="590">
                  <c:v>24.583333333333332</c:v>
                </c:pt>
                <c:pt idx="591">
                  <c:v>24.625</c:v>
                </c:pt>
                <c:pt idx="592">
                  <c:v>24.666666666666668</c:v>
                </c:pt>
                <c:pt idx="593">
                  <c:v>24.708333333333332</c:v>
                </c:pt>
                <c:pt idx="594">
                  <c:v>24.75</c:v>
                </c:pt>
                <c:pt idx="595">
                  <c:v>24.791666666666668</c:v>
                </c:pt>
                <c:pt idx="596">
                  <c:v>24.833333333333332</c:v>
                </c:pt>
                <c:pt idx="597">
                  <c:v>24.875</c:v>
                </c:pt>
                <c:pt idx="598">
                  <c:v>24.916666666666668</c:v>
                </c:pt>
                <c:pt idx="599">
                  <c:v>24.958333333333332</c:v>
                </c:pt>
                <c:pt idx="600">
                  <c:v>25</c:v>
                </c:pt>
                <c:pt idx="601">
                  <c:v>25.041666666666668</c:v>
                </c:pt>
                <c:pt idx="602">
                  <c:v>25.083333333333332</c:v>
                </c:pt>
                <c:pt idx="603">
                  <c:v>25.125</c:v>
                </c:pt>
                <c:pt idx="604">
                  <c:v>25.166666666666668</c:v>
                </c:pt>
                <c:pt idx="605">
                  <c:v>25.208333333333332</c:v>
                </c:pt>
                <c:pt idx="606">
                  <c:v>25.25</c:v>
                </c:pt>
                <c:pt idx="607">
                  <c:v>25.291666666666668</c:v>
                </c:pt>
                <c:pt idx="608">
                  <c:v>25.333333333333332</c:v>
                </c:pt>
                <c:pt idx="609">
                  <c:v>25.375</c:v>
                </c:pt>
                <c:pt idx="610">
                  <c:v>25.416666666666668</c:v>
                </c:pt>
                <c:pt idx="611">
                  <c:v>25.458333333333332</c:v>
                </c:pt>
                <c:pt idx="612">
                  <c:v>25.5</c:v>
                </c:pt>
                <c:pt idx="613">
                  <c:v>25.541666666666668</c:v>
                </c:pt>
                <c:pt idx="614">
                  <c:v>25.583333333333332</c:v>
                </c:pt>
                <c:pt idx="615">
                  <c:v>25.625</c:v>
                </c:pt>
                <c:pt idx="616">
                  <c:v>25.666666666666668</c:v>
                </c:pt>
                <c:pt idx="617">
                  <c:v>25.708333333333332</c:v>
                </c:pt>
                <c:pt idx="618">
                  <c:v>25.75</c:v>
                </c:pt>
                <c:pt idx="619">
                  <c:v>25.791666666666668</c:v>
                </c:pt>
                <c:pt idx="620">
                  <c:v>25.833333333333332</c:v>
                </c:pt>
                <c:pt idx="621">
                  <c:v>25.875</c:v>
                </c:pt>
                <c:pt idx="622">
                  <c:v>25.916666666666668</c:v>
                </c:pt>
                <c:pt idx="623">
                  <c:v>25.958333333333332</c:v>
                </c:pt>
                <c:pt idx="624">
                  <c:v>26</c:v>
                </c:pt>
                <c:pt idx="625">
                  <c:v>26.041666666666668</c:v>
                </c:pt>
                <c:pt idx="626">
                  <c:v>26.083333333333332</c:v>
                </c:pt>
                <c:pt idx="627">
                  <c:v>26.125</c:v>
                </c:pt>
                <c:pt idx="628">
                  <c:v>26.166666666666668</c:v>
                </c:pt>
                <c:pt idx="629">
                  <c:v>26.208333333333332</c:v>
                </c:pt>
                <c:pt idx="630">
                  <c:v>26.25</c:v>
                </c:pt>
                <c:pt idx="631">
                  <c:v>26.291666666666668</c:v>
                </c:pt>
                <c:pt idx="632">
                  <c:v>26.333333333333332</c:v>
                </c:pt>
                <c:pt idx="633">
                  <c:v>26.375</c:v>
                </c:pt>
                <c:pt idx="634">
                  <c:v>26.416666666666668</c:v>
                </c:pt>
                <c:pt idx="635">
                  <c:v>26.458333333333332</c:v>
                </c:pt>
                <c:pt idx="636">
                  <c:v>26.5</c:v>
                </c:pt>
                <c:pt idx="637">
                  <c:v>26.541666666666668</c:v>
                </c:pt>
                <c:pt idx="638">
                  <c:v>26.583333333333332</c:v>
                </c:pt>
                <c:pt idx="639">
                  <c:v>26.625</c:v>
                </c:pt>
                <c:pt idx="640">
                  <c:v>26.666666666666668</c:v>
                </c:pt>
                <c:pt idx="641">
                  <c:v>26.708333333333332</c:v>
                </c:pt>
                <c:pt idx="642">
                  <c:v>26.75</c:v>
                </c:pt>
                <c:pt idx="643">
                  <c:v>26.791666666666668</c:v>
                </c:pt>
                <c:pt idx="644">
                  <c:v>26.833333333333332</c:v>
                </c:pt>
                <c:pt idx="645">
                  <c:v>26.875</c:v>
                </c:pt>
                <c:pt idx="646">
                  <c:v>26.916666666666668</c:v>
                </c:pt>
                <c:pt idx="647">
                  <c:v>26.958333333333332</c:v>
                </c:pt>
                <c:pt idx="648">
                  <c:v>27</c:v>
                </c:pt>
                <c:pt idx="649">
                  <c:v>27.041666666666668</c:v>
                </c:pt>
                <c:pt idx="650">
                  <c:v>27.083333333333332</c:v>
                </c:pt>
                <c:pt idx="651">
                  <c:v>27.125</c:v>
                </c:pt>
                <c:pt idx="652">
                  <c:v>27.166666666666668</c:v>
                </c:pt>
                <c:pt idx="653">
                  <c:v>27.208333333333332</c:v>
                </c:pt>
                <c:pt idx="654">
                  <c:v>27.25</c:v>
                </c:pt>
                <c:pt idx="655">
                  <c:v>27.291666666666668</c:v>
                </c:pt>
                <c:pt idx="656">
                  <c:v>27.333333333333332</c:v>
                </c:pt>
                <c:pt idx="657">
                  <c:v>27.375</c:v>
                </c:pt>
                <c:pt idx="658">
                  <c:v>27.416666666666668</c:v>
                </c:pt>
                <c:pt idx="659">
                  <c:v>27.458333333333332</c:v>
                </c:pt>
                <c:pt idx="660">
                  <c:v>27.5</c:v>
                </c:pt>
                <c:pt idx="661">
                  <c:v>27.541666666666668</c:v>
                </c:pt>
                <c:pt idx="662">
                  <c:v>27.583333333333332</c:v>
                </c:pt>
                <c:pt idx="663">
                  <c:v>27.625</c:v>
                </c:pt>
                <c:pt idx="664">
                  <c:v>27.666666666666668</c:v>
                </c:pt>
                <c:pt idx="665">
                  <c:v>27.708333333333332</c:v>
                </c:pt>
                <c:pt idx="666">
                  <c:v>27.75</c:v>
                </c:pt>
                <c:pt idx="667">
                  <c:v>27.791666666666668</c:v>
                </c:pt>
              </c:numCache>
            </c:numRef>
          </c:xVal>
          <c:yVal>
            <c:numRef>
              <c:f>'Volume Average Stirred vs unst.'!$I$7:$I$672</c:f>
              <c:numCache>
                <c:formatCode>General</c:formatCode>
                <c:ptCount val="666"/>
                <c:pt idx="0">
                  <c:v>1.4005939863169553E-2</c:v>
                </c:pt>
                <c:pt idx="1">
                  <c:v>2.4707443287677381E-2</c:v>
                </c:pt>
                <c:pt idx="2">
                  <c:v>3.3615492913863752E-2</c:v>
                </c:pt>
                <c:pt idx="3">
                  <c:v>3.9956801123962347E-2</c:v>
                </c:pt>
                <c:pt idx="4">
                  <c:v>4.5433135343364218E-2</c:v>
                </c:pt>
                <c:pt idx="5">
                  <c:v>5.0059034034131589E-2</c:v>
                </c:pt>
                <c:pt idx="6">
                  <c:v>5.4388583137304297E-2</c:v>
                </c:pt>
                <c:pt idx="7">
                  <c:v>5.9505603093947278E-2</c:v>
                </c:pt>
                <c:pt idx="8">
                  <c:v>6.3798598538673423E-2</c:v>
                </c:pt>
                <c:pt idx="9">
                  <c:v>6.7270316016668066E-2</c:v>
                </c:pt>
                <c:pt idx="10">
                  <c:v>7.0200476992039781E-2</c:v>
                </c:pt>
                <c:pt idx="11">
                  <c:v>7.2583141720488464E-2</c:v>
                </c:pt>
                <c:pt idx="12">
                  <c:v>7.5229393636284295E-2</c:v>
                </c:pt>
                <c:pt idx="13">
                  <c:v>7.7337526352637659E-2</c:v>
                </c:pt>
                <c:pt idx="14">
                  <c:v>7.9440821578550078E-2</c:v>
                </c:pt>
                <c:pt idx="15">
                  <c:v>8.1806366295331001E-2</c:v>
                </c:pt>
                <c:pt idx="16">
                  <c:v>8.2592905672024791E-2</c:v>
                </c:pt>
                <c:pt idx="17">
                  <c:v>8.8100915015780323E-2</c:v>
                </c:pt>
                <c:pt idx="18">
                  <c:v>9.2788756677620599E-2</c:v>
                </c:pt>
                <c:pt idx="19">
                  <c:v>9.4858039060084054E-2</c:v>
                </c:pt>
                <c:pt idx="20">
                  <c:v>9.5890750523649482E-2</c:v>
                </c:pt>
                <c:pt idx="21">
                  <c:v>9.9502820503565417E-2</c:v>
                </c:pt>
                <c:pt idx="22">
                  <c:v>0.1028394895543765</c:v>
                </c:pt>
                <c:pt idx="23">
                  <c:v>0.10668556047541518</c:v>
                </c:pt>
                <c:pt idx="24">
                  <c:v>0.13815940312070038</c:v>
                </c:pt>
                <c:pt idx="25">
                  <c:v>0.14377544463506309</c:v>
                </c:pt>
                <c:pt idx="26">
                  <c:v>0.14729919272484723</c:v>
                </c:pt>
                <c:pt idx="27">
                  <c:v>0.15110478670471619</c:v>
                </c:pt>
                <c:pt idx="28">
                  <c:v>0.15343768838827407</c:v>
                </c:pt>
                <c:pt idx="29">
                  <c:v>0.15576115632540211</c:v>
                </c:pt>
                <c:pt idx="30">
                  <c:v>0.15750067764920375</c:v>
                </c:pt>
                <c:pt idx="31">
                  <c:v>0.15923244906271153</c:v>
                </c:pt>
                <c:pt idx="32">
                  <c:v>0.16125917518023725</c:v>
                </c:pt>
                <c:pt idx="33">
                  <c:v>0.16269903813088726</c:v>
                </c:pt>
                <c:pt idx="34">
                  <c:v>0.16442449271549522</c:v>
                </c:pt>
                <c:pt idx="35">
                  <c:v>0.16585910288961661</c:v>
                </c:pt>
                <c:pt idx="36">
                  <c:v>0.16729136459592267</c:v>
                </c:pt>
                <c:pt idx="37">
                  <c:v>0.16900740080162527</c:v>
                </c:pt>
                <c:pt idx="38">
                  <c:v>0.17014913663297182</c:v>
                </c:pt>
                <c:pt idx="39">
                  <c:v>0.17215168357077607</c:v>
                </c:pt>
                <c:pt idx="40">
                  <c:v>0.17386551513022394</c:v>
                </c:pt>
                <c:pt idx="41">
                  <c:v>0.1761404605333885</c:v>
                </c:pt>
                <c:pt idx="42">
                  <c:v>0.17813007468535833</c:v>
                </c:pt>
                <c:pt idx="43">
                  <c:v>0.18125384848356527</c:v>
                </c:pt>
                <c:pt idx="44">
                  <c:v>0.18408139720381275</c:v>
                </c:pt>
                <c:pt idx="45">
                  <c:v>0.18887782136353107</c:v>
                </c:pt>
                <c:pt idx="46">
                  <c:v>0.19590677386736358</c:v>
                </c:pt>
                <c:pt idx="47">
                  <c:v>0.20147861615971061</c:v>
                </c:pt>
                <c:pt idx="48">
                  <c:v>0.20618682405575736</c:v>
                </c:pt>
                <c:pt idx="49">
                  <c:v>0.2078399695137616</c:v>
                </c:pt>
                <c:pt idx="50">
                  <c:v>0.20893941814212416</c:v>
                </c:pt>
                <c:pt idx="51">
                  <c:v>0.20976976618762508</c:v>
                </c:pt>
                <c:pt idx="52">
                  <c:v>0.21086704373405951</c:v>
                </c:pt>
                <c:pt idx="53">
                  <c:v>0.21168951906018482</c:v>
                </c:pt>
                <c:pt idx="54">
                  <c:v>0.21278086820657852</c:v>
                </c:pt>
                <c:pt idx="55">
                  <c:v>0.2136016783194101</c:v>
                </c:pt>
                <c:pt idx="56">
                  <c:v>0.21415287628177559</c:v>
                </c:pt>
                <c:pt idx="57">
                  <c:v>0.21524138626047154</c:v>
                </c:pt>
                <c:pt idx="58">
                  <c:v>0.21634185219033583</c:v>
                </c:pt>
                <c:pt idx="59">
                  <c:v>0.21715956036178574</c:v>
                </c:pt>
                <c:pt idx="60">
                  <c:v>0.21797655925276183</c:v>
                </c:pt>
                <c:pt idx="61">
                  <c:v>0.21906993068369909</c:v>
                </c:pt>
                <c:pt idx="62">
                  <c:v>0.22042401854932173</c:v>
                </c:pt>
                <c:pt idx="63">
                  <c:v>0.22151454560882455</c:v>
                </c:pt>
                <c:pt idx="64">
                  <c:v>0.21988251144735541</c:v>
                </c:pt>
                <c:pt idx="65">
                  <c:v>0.21988552006885476</c:v>
                </c:pt>
                <c:pt idx="66">
                  <c:v>0.22015581524524064</c:v>
                </c:pt>
                <c:pt idx="67">
                  <c:v>0.22097022105550732</c:v>
                </c:pt>
                <c:pt idx="68">
                  <c:v>0.22206027633189632</c:v>
                </c:pt>
                <c:pt idx="69">
                  <c:v>0.22396166374045748</c:v>
                </c:pt>
                <c:pt idx="70">
                  <c:v>0.24073630946559546</c:v>
                </c:pt>
                <c:pt idx="71">
                  <c:v>0.24738499816432394</c:v>
                </c:pt>
                <c:pt idx="72">
                  <c:v>0.25008399630328432</c:v>
                </c:pt>
                <c:pt idx="73">
                  <c:v>0.25336915472131288</c:v>
                </c:pt>
                <c:pt idx="74">
                  <c:v>0.25575289861627376</c:v>
                </c:pt>
                <c:pt idx="75">
                  <c:v>0.25753426048097444</c:v>
                </c:pt>
                <c:pt idx="76">
                  <c:v>0.25901275478551866</c:v>
                </c:pt>
                <c:pt idx="77">
                  <c:v>0.26049333069925229</c:v>
                </c:pt>
                <c:pt idx="78">
                  <c:v>0.26167328876658252</c:v>
                </c:pt>
                <c:pt idx="79">
                  <c:v>0.26255607737228637</c:v>
                </c:pt>
                <c:pt idx="80">
                  <c:v>0.26314556077105467</c:v>
                </c:pt>
                <c:pt idx="81">
                  <c:v>0.26432168327418165</c:v>
                </c:pt>
                <c:pt idx="82">
                  <c:v>0.26549616943445342</c:v>
                </c:pt>
                <c:pt idx="83">
                  <c:v>0.26608346284843803</c:v>
                </c:pt>
                <c:pt idx="84">
                  <c:v>0.26696517265705721</c:v>
                </c:pt>
                <c:pt idx="85">
                  <c:v>0.26784143324917448</c:v>
                </c:pt>
                <c:pt idx="86">
                  <c:v>0.2690110371987357</c:v>
                </c:pt>
                <c:pt idx="87">
                  <c:v>0.26989002398280498</c:v>
                </c:pt>
                <c:pt idx="88">
                  <c:v>0.27164635839461981</c:v>
                </c:pt>
                <c:pt idx="89">
                  <c:v>0.27281110036287198</c:v>
                </c:pt>
                <c:pt idx="90">
                  <c:v>0.27456201086672444</c:v>
                </c:pt>
                <c:pt idx="91">
                  <c:v>0.27776902383150454</c:v>
                </c:pt>
                <c:pt idx="92">
                  <c:v>0.28125247310469831</c:v>
                </c:pt>
                <c:pt idx="93">
                  <c:v>0.28212179612889315</c:v>
                </c:pt>
                <c:pt idx="94">
                  <c:v>0.28385549923161113</c:v>
                </c:pt>
                <c:pt idx="95">
                  <c:v>0.28587058945246741</c:v>
                </c:pt>
                <c:pt idx="96">
                  <c:v>0.28788122779035619</c:v>
                </c:pt>
                <c:pt idx="97">
                  <c:v>0.28988743457174437</c:v>
                </c:pt>
                <c:pt idx="98">
                  <c:v>0.29189033563842465</c:v>
                </c:pt>
                <c:pt idx="99">
                  <c:v>0.29360620801812792</c:v>
                </c:pt>
                <c:pt idx="100">
                  <c:v>0.29446258395285857</c:v>
                </c:pt>
                <c:pt idx="101">
                  <c:v>0.2964545564619932</c:v>
                </c:pt>
                <c:pt idx="102">
                  <c:v>0.29759551941071205</c:v>
                </c:pt>
                <c:pt idx="103">
                  <c:v>0.29815508225224208</c:v>
                </c:pt>
                <c:pt idx="104">
                  <c:v>0.29929398786165712</c:v>
                </c:pt>
                <c:pt idx="105">
                  <c:v>0.30042426144479378</c:v>
                </c:pt>
                <c:pt idx="106">
                  <c:v>0.3007101149547679</c:v>
                </c:pt>
                <c:pt idx="107">
                  <c:v>0.30183862058882804</c:v>
                </c:pt>
                <c:pt idx="108">
                  <c:v>0.30240200936256328</c:v>
                </c:pt>
                <c:pt idx="109">
                  <c:v>0.30240200936256328</c:v>
                </c:pt>
                <c:pt idx="110">
                  <c:v>0.30325045157865455</c:v>
                </c:pt>
                <c:pt idx="111">
                  <c:v>0.30381283196749648</c:v>
                </c:pt>
                <c:pt idx="112">
                  <c:v>0.30466000765055867</c:v>
                </c:pt>
                <c:pt idx="113">
                  <c:v>0.30550642191281102</c:v>
                </c:pt>
                <c:pt idx="114">
                  <c:v>0.30719773033136316</c:v>
                </c:pt>
                <c:pt idx="115">
                  <c:v>0.30831822155045413</c:v>
                </c:pt>
                <c:pt idx="116">
                  <c:v>0.30944462794970101</c:v>
                </c:pt>
                <c:pt idx="117">
                  <c:v>0.31141263825828186</c:v>
                </c:pt>
                <c:pt idx="118">
                  <c:v>0.31365151047667122</c:v>
                </c:pt>
                <c:pt idx="119">
                  <c:v>0.31561000858935551</c:v>
                </c:pt>
                <c:pt idx="120">
                  <c:v>0.31755724163307614</c:v>
                </c:pt>
                <c:pt idx="121">
                  <c:v>0.31922707838089259</c:v>
                </c:pt>
                <c:pt idx="122">
                  <c:v>0.32005979050217798</c:v>
                </c:pt>
                <c:pt idx="123">
                  <c:v>0.32089249544110832</c:v>
                </c:pt>
                <c:pt idx="124">
                  <c:v>0.32199676601302341</c:v>
                </c:pt>
                <c:pt idx="125">
                  <c:v>0.32227573762841949</c:v>
                </c:pt>
                <c:pt idx="126">
                  <c:v>0.32254757002905082</c:v>
                </c:pt>
                <c:pt idx="127">
                  <c:v>0.32309789168370351</c:v>
                </c:pt>
                <c:pt idx="128">
                  <c:v>0.32337636668741215</c:v>
                </c:pt>
                <c:pt idx="129">
                  <c:v>0.32392792851334534</c:v>
                </c:pt>
                <c:pt idx="130">
                  <c:v>0.32447728797612962</c:v>
                </c:pt>
                <c:pt idx="131">
                  <c:v>0.32447728797612962</c:v>
                </c:pt>
                <c:pt idx="132">
                  <c:v>0.32530611400864129</c:v>
                </c:pt>
                <c:pt idx="133">
                  <c:v>0.32558384740115498</c:v>
                </c:pt>
                <c:pt idx="134">
                  <c:v>0.3258545146393319</c:v>
                </c:pt>
                <c:pt idx="135">
                  <c:v>0.32668213367242893</c:v>
                </c:pt>
                <c:pt idx="136">
                  <c:v>0.32750902598219839</c:v>
                </c:pt>
                <c:pt idx="137">
                  <c:v>0.32833519284418317</c:v>
                </c:pt>
                <c:pt idx="138">
                  <c:v>0.32943738623084967</c:v>
                </c:pt>
                <c:pt idx="139">
                  <c:v>0.3310863374790935</c:v>
                </c:pt>
                <c:pt idx="140">
                  <c:v>0.3327348383054079</c:v>
                </c:pt>
                <c:pt idx="141">
                  <c:v>0.33493102808528086</c:v>
                </c:pt>
                <c:pt idx="142">
                  <c:v>0.33794159991380202</c:v>
                </c:pt>
                <c:pt idx="143">
                  <c:v>0.34039278024558356</c:v>
                </c:pt>
                <c:pt idx="144">
                  <c:v>0.34202265817318644</c:v>
                </c:pt>
                <c:pt idx="145">
                  <c:v>0.34392237081418048</c:v>
                </c:pt>
                <c:pt idx="146">
                  <c:v>0.34554615336069272</c:v>
                </c:pt>
                <c:pt idx="147">
                  <c:v>0.34716714095456208</c:v>
                </c:pt>
                <c:pt idx="148">
                  <c:v>0.3482472396248672</c:v>
                </c:pt>
                <c:pt idx="149">
                  <c:v>0.34932017798198906</c:v>
                </c:pt>
                <c:pt idx="150">
                  <c:v>0.35039773120278972</c:v>
                </c:pt>
                <c:pt idx="151">
                  <c:v>0.35120406494666628</c:v>
                </c:pt>
                <c:pt idx="152">
                  <c:v>0.3517401124490398</c:v>
                </c:pt>
                <c:pt idx="153">
                  <c:v>0.35281489631497537</c:v>
                </c:pt>
                <c:pt idx="154">
                  <c:v>0.35334746934308847</c:v>
                </c:pt>
                <c:pt idx="155">
                  <c:v>0.35415128627485132</c:v>
                </c:pt>
                <c:pt idx="156">
                  <c:v>0.35495441769613573</c:v>
                </c:pt>
                <c:pt idx="157">
                  <c:v>0.35575686477550045</c:v>
                </c:pt>
                <c:pt idx="158">
                  <c:v>0.35682683842276691</c:v>
                </c:pt>
                <c:pt idx="159">
                  <c:v>0.35762769097526464</c:v>
                </c:pt>
                <c:pt idx="160">
                  <c:v>0.35896051342347679</c:v>
                </c:pt>
                <c:pt idx="161">
                  <c:v>0.36029690540735232</c:v>
                </c:pt>
                <c:pt idx="162">
                  <c:v>0.3616231250511357</c:v>
                </c:pt>
                <c:pt idx="163">
                  <c:v>0.36268095661717847</c:v>
                </c:pt>
                <c:pt idx="164">
                  <c:v>0.36427275299977963</c:v>
                </c:pt>
                <c:pt idx="165">
                  <c:v>0.36560167929630311</c:v>
                </c:pt>
                <c:pt idx="166">
                  <c:v>0.3926078526733599</c:v>
                </c:pt>
                <c:pt idx="167">
                  <c:v>0.39737359541116341</c:v>
                </c:pt>
                <c:pt idx="168">
                  <c:v>0.40152387365038389</c:v>
                </c:pt>
                <c:pt idx="169">
                  <c:v>0.4044729731597248</c:v>
                </c:pt>
                <c:pt idx="170">
                  <c:v>0.40682579282206149</c:v>
                </c:pt>
                <c:pt idx="171">
                  <c:v>0.40858748914854265</c:v>
                </c:pt>
                <c:pt idx="172">
                  <c:v>0.41033992870075481</c:v>
                </c:pt>
                <c:pt idx="173">
                  <c:v>0.41238926470921822</c:v>
                </c:pt>
                <c:pt idx="174">
                  <c:v>0.41414059980207907</c:v>
                </c:pt>
                <c:pt idx="175">
                  <c:v>0.41530203334330279</c:v>
                </c:pt>
                <c:pt idx="176">
                  <c:v>0.41676110700264907</c:v>
                </c:pt>
                <c:pt idx="177">
                  <c:v>0.41791829115257323</c:v>
                </c:pt>
                <c:pt idx="178">
                  <c:v>0.41908186394659647</c:v>
                </c:pt>
                <c:pt idx="179">
                  <c:v>0.42023715624996871</c:v>
                </c:pt>
                <c:pt idx="180">
                  <c:v>0.42139647169172306</c:v>
                </c:pt>
                <c:pt idx="181">
                  <c:v>0.42254885270183989</c:v>
                </c:pt>
                <c:pt idx="182">
                  <c:v>0.42312346807614892</c:v>
                </c:pt>
                <c:pt idx="183">
                  <c:v>0.42399663464422549</c:v>
                </c:pt>
                <c:pt idx="184">
                  <c:v>0.42457045498649171</c:v>
                </c:pt>
                <c:pt idx="185">
                  <c:v>0.42571888805434371</c:v>
                </c:pt>
                <c:pt idx="186">
                  <c:v>0.42658226643695052</c:v>
                </c:pt>
                <c:pt idx="187">
                  <c:v>0.42802420645067896</c:v>
                </c:pt>
                <c:pt idx="188">
                  <c:v>0.42974673847945838</c:v>
                </c:pt>
                <c:pt idx="189">
                  <c:v>0.43118365662607244</c:v>
                </c:pt>
                <c:pt idx="190">
                  <c:v>0.43347163530226429</c:v>
                </c:pt>
                <c:pt idx="191">
                  <c:v>0.43547088127346684</c:v>
                </c:pt>
                <c:pt idx="192">
                  <c:v>0.43774849142479333</c:v>
                </c:pt>
                <c:pt idx="193">
                  <c:v>0.43945334883145099</c:v>
                </c:pt>
                <c:pt idx="194">
                  <c:v>0.44030267064203321</c:v>
                </c:pt>
                <c:pt idx="195">
                  <c:v>0.44115279226908483</c:v>
                </c:pt>
                <c:pt idx="196">
                  <c:v>0.44200214732816195</c:v>
                </c:pt>
                <c:pt idx="197">
                  <c:v>0.44285073720057055</c:v>
                </c:pt>
                <c:pt idx="198">
                  <c:v>0.44313425932713751</c:v>
                </c:pt>
                <c:pt idx="199">
                  <c:v>0.44398182869318997</c:v>
                </c:pt>
                <c:pt idx="200">
                  <c:v>0.44426028271362533</c:v>
                </c:pt>
                <c:pt idx="201">
                  <c:v>0.44510684292373814</c:v>
                </c:pt>
                <c:pt idx="202">
                  <c:v>0.44567468288168549</c:v>
                </c:pt>
                <c:pt idx="203">
                  <c:v>0.44623514108926371</c:v>
                </c:pt>
                <c:pt idx="204">
                  <c:v>0.44680221370992229</c:v>
                </c:pt>
                <c:pt idx="205">
                  <c:v>0.44736191637315698</c:v>
                </c:pt>
                <c:pt idx="206">
                  <c:v>0.44764648900347098</c:v>
                </c:pt>
                <c:pt idx="207">
                  <c:v>0.44849000823785462</c:v>
                </c:pt>
                <c:pt idx="208">
                  <c:v>0.44933277276606809</c:v>
                </c:pt>
                <c:pt idx="209">
                  <c:v>0.45017478393747723</c:v>
                </c:pt>
                <c:pt idx="210">
                  <c:v>0.45129701899964325</c:v>
                </c:pt>
                <c:pt idx="211">
                  <c:v>0.45242057178108497</c:v>
                </c:pt>
                <c:pt idx="212">
                  <c:v>0.45325982622734234</c:v>
                </c:pt>
                <c:pt idx="213">
                  <c:v>0.45493684093570197</c:v>
                </c:pt>
                <c:pt idx="214">
                  <c:v>0.45577385808916032</c:v>
                </c:pt>
                <c:pt idx="215">
                  <c:v>0.45717113168067175</c:v>
                </c:pt>
                <c:pt idx="216">
                  <c:v>0.45856247441066866</c:v>
                </c:pt>
                <c:pt idx="217">
                  <c:v>0.45967475208890357</c:v>
                </c:pt>
                <c:pt idx="218">
                  <c:v>0.46078555029804696</c:v>
                </c:pt>
                <c:pt idx="219">
                  <c:v>0.46161738634663702</c:v>
                </c:pt>
                <c:pt idx="220">
                  <c:v>0.46244848845358016</c:v>
                </c:pt>
                <c:pt idx="221">
                  <c:v>0.46327885791293077</c:v>
                </c:pt>
                <c:pt idx="222">
                  <c:v>0.46327885791293077</c:v>
                </c:pt>
                <c:pt idx="223">
                  <c:v>0.46438524671560361</c:v>
                </c:pt>
                <c:pt idx="224">
                  <c:v>0.46438524671560361</c:v>
                </c:pt>
                <c:pt idx="225">
                  <c:v>0.46521391059275735</c:v>
                </c:pt>
                <c:pt idx="226">
                  <c:v>0.46521391059275735</c:v>
                </c:pt>
                <c:pt idx="227">
                  <c:v>0.46576896844828969</c:v>
                </c:pt>
                <c:pt idx="228">
                  <c:v>0.46604184611481125</c:v>
                </c:pt>
                <c:pt idx="229">
                  <c:v>0.46659641428269194</c:v>
                </c:pt>
                <c:pt idx="230">
                  <c:v>0.46742313390457441</c:v>
                </c:pt>
                <c:pt idx="231">
                  <c:v>0.467970826839397</c:v>
                </c:pt>
                <c:pt idx="232">
                  <c:v>0.4685274303357978</c:v>
                </c:pt>
                <c:pt idx="233">
                  <c:v>0.46935245668977527</c:v>
                </c:pt>
                <c:pt idx="234">
                  <c:v>0.4704515671036818</c:v>
                </c:pt>
                <c:pt idx="235">
                  <c:v>0.47127491003659316</c:v>
                </c:pt>
                <c:pt idx="236">
                  <c:v>0.47292577893129062</c:v>
                </c:pt>
                <c:pt idx="237">
                  <c:v>0.47401818554532865</c:v>
                </c:pt>
                <c:pt idx="238">
                  <c:v>0.47593476222769454</c:v>
                </c:pt>
                <c:pt idx="239">
                  <c:v>0.478120172160657</c:v>
                </c:pt>
                <c:pt idx="240">
                  <c:v>0.47975351207879696</c:v>
                </c:pt>
                <c:pt idx="241">
                  <c:v>0.48057111231037891</c:v>
                </c:pt>
                <c:pt idx="242">
                  <c:v>0.48165501934233218</c:v>
                </c:pt>
                <c:pt idx="243">
                  <c:v>0.48219973455902415</c:v>
                </c:pt>
                <c:pt idx="244">
                  <c:v>0.48273939504537444</c:v>
                </c:pt>
                <c:pt idx="245">
                  <c:v>0.48328340452325286</c:v>
                </c:pt>
                <c:pt idx="246">
                  <c:v>0.48436427751043931</c:v>
                </c:pt>
                <c:pt idx="247">
                  <c:v>0.48490734701003008</c:v>
                </c:pt>
                <c:pt idx="248">
                  <c:v>0.48490734701003008</c:v>
                </c:pt>
                <c:pt idx="249">
                  <c:v>0.48544994773754757</c:v>
                </c:pt>
                <c:pt idx="250">
                  <c:v>0.48598775127898808</c:v>
                </c:pt>
                <c:pt idx="251">
                  <c:v>0.48652965193243375</c:v>
                </c:pt>
                <c:pt idx="252">
                  <c:v>0.48706993097999779</c:v>
                </c:pt>
                <c:pt idx="253">
                  <c:v>0.48733906359648521</c:v>
                </c:pt>
                <c:pt idx="254">
                  <c:v>0.487878879059717</c:v>
                </c:pt>
                <c:pt idx="255">
                  <c:v>0.48814778036325518</c:v>
                </c:pt>
                <c:pt idx="256">
                  <c:v>0.48868828315174967</c:v>
                </c:pt>
                <c:pt idx="257">
                  <c:v>0.48976336213280597</c:v>
                </c:pt>
                <c:pt idx="258">
                  <c:v>0.49057430214492509</c:v>
                </c:pt>
                <c:pt idx="259">
                  <c:v>0.4913802459675522</c:v>
                </c:pt>
                <c:pt idx="260">
                  <c:v>0.50508616435478781</c:v>
                </c:pt>
                <c:pt idx="261">
                  <c:v>0.50932801947804451</c:v>
                </c:pt>
                <c:pt idx="262">
                  <c:v>0.51234316629774157</c:v>
                </c:pt>
                <c:pt idx="263">
                  <c:v>0.5153485177010545</c:v>
                </c:pt>
                <c:pt idx="264">
                  <c:v>0.51714564560780929</c:v>
                </c:pt>
                <c:pt idx="265">
                  <c:v>0.51864107668136561</c:v>
                </c:pt>
                <c:pt idx="266">
                  <c:v>0.51923806177489507</c:v>
                </c:pt>
                <c:pt idx="267">
                  <c:v>0.52013401765876488</c:v>
                </c:pt>
                <c:pt idx="268">
                  <c:v>0.52072958493585253</c:v>
                </c:pt>
                <c:pt idx="269">
                  <c:v>0.52102590904034185</c:v>
                </c:pt>
                <c:pt idx="270">
                  <c:v>0.5213245884357276</c:v>
                </c:pt>
                <c:pt idx="271">
                  <c:v>0.52162063469295517</c:v>
                </c:pt>
                <c:pt idx="272">
                  <c:v>0.52191902922482614</c:v>
                </c:pt>
                <c:pt idx="273">
                  <c:v>0.52281181156160139</c:v>
                </c:pt>
                <c:pt idx="274">
                  <c:v>0.52310730368451519</c:v>
                </c:pt>
                <c:pt idx="275">
                  <c:v>0.52340513011637302</c:v>
                </c:pt>
                <c:pt idx="276">
                  <c:v>0.52370034594931669</c:v>
                </c:pt>
                <c:pt idx="277">
                  <c:v>0.52459144759045351</c:v>
                </c:pt>
                <c:pt idx="278">
                  <c:v>0.52518337288147265</c:v>
                </c:pt>
                <c:pt idx="279">
                  <c:v>0.52607307538868331</c:v>
                </c:pt>
                <c:pt idx="280">
                  <c:v>0.52607307538868331</c:v>
                </c:pt>
                <c:pt idx="281">
                  <c:v>0.52725605413061405</c:v>
                </c:pt>
                <c:pt idx="282">
                  <c:v>0.52785023695233768</c:v>
                </c:pt>
                <c:pt idx="283">
                  <c:v>0.52873350975479028</c:v>
                </c:pt>
                <c:pt idx="284">
                  <c:v>0.53021321288837275</c:v>
                </c:pt>
                <c:pt idx="285">
                  <c:v>0.5313909348612641</c:v>
                </c:pt>
                <c:pt idx="286">
                  <c:v>0.53227480317947784</c:v>
                </c:pt>
                <c:pt idx="287">
                  <c:v>0.5331578428716327</c:v>
                </c:pt>
                <c:pt idx="288">
                  <c:v>0.5346261887509729</c:v>
                </c:pt>
                <c:pt idx="289">
                  <c:v>0.53521312128299103</c:v>
                </c:pt>
                <c:pt idx="290">
                  <c:v>0.53579789521166665</c:v>
                </c:pt>
                <c:pt idx="291">
                  <c:v>0.53667575925258981</c:v>
                </c:pt>
                <c:pt idx="292">
                  <c:v>0.53726160973517501</c:v>
                </c:pt>
                <c:pt idx="293">
                  <c:v>0.53755469326366834</c:v>
                </c:pt>
                <c:pt idx="294">
                  <c:v>0.53843280785657266</c:v>
                </c:pt>
                <c:pt idx="295">
                  <c:v>0.53872260439932929</c:v>
                </c:pt>
                <c:pt idx="296">
                  <c:v>0.53901513985203309</c:v>
                </c:pt>
                <c:pt idx="297">
                  <c:v>0.53959693283108456</c:v>
                </c:pt>
                <c:pt idx="298">
                  <c:v>0.53989189753696687</c:v>
                </c:pt>
                <c:pt idx="299">
                  <c:v>0.54047315249661743</c:v>
                </c:pt>
                <c:pt idx="300">
                  <c:v>0.54105684061247328</c:v>
                </c:pt>
                <c:pt idx="301">
                  <c:v>0.54134855778419055</c:v>
                </c:pt>
                <c:pt idx="302">
                  <c:v>0.54163729425728924</c:v>
                </c:pt>
                <c:pt idx="303">
                  <c:v>0.54251162287275145</c:v>
                </c:pt>
                <c:pt idx="304">
                  <c:v>0.54280279706229695</c:v>
                </c:pt>
                <c:pt idx="305">
                  <c:v>0.54338190985929846</c:v>
                </c:pt>
                <c:pt idx="306">
                  <c:v>0.5436698563557264</c:v>
                </c:pt>
                <c:pt idx="307">
                  <c:v>0.54454230792057512</c:v>
                </c:pt>
                <c:pt idx="308">
                  <c:v>0.54512652983169885</c:v>
                </c:pt>
                <c:pt idx="309">
                  <c:v>0.5430872585273735</c:v>
                </c:pt>
                <c:pt idx="310">
                  <c:v>0.54337520502380154</c:v>
                </c:pt>
                <c:pt idx="311">
                  <c:v>0.54366556851954784</c:v>
                </c:pt>
                <c:pt idx="312">
                  <c:v>0.54424794000322718</c:v>
                </c:pt>
                <c:pt idx="313">
                  <c:v>0.54511555077913598</c:v>
                </c:pt>
                <c:pt idx="314">
                  <c:v>0.54511555077913598</c:v>
                </c:pt>
                <c:pt idx="315">
                  <c:v>0.54569226891353395</c:v>
                </c:pt>
                <c:pt idx="316">
                  <c:v>0.54569226891353395</c:v>
                </c:pt>
                <c:pt idx="317">
                  <c:v>0.54569226891353395</c:v>
                </c:pt>
                <c:pt idx="318">
                  <c:v>0.54539785839216248</c:v>
                </c:pt>
                <c:pt idx="319">
                  <c:v>0.5462687352061889</c:v>
                </c:pt>
                <c:pt idx="320">
                  <c:v>0.54597432468481744</c:v>
                </c:pt>
                <c:pt idx="321">
                  <c:v>0.54626901203789691</c:v>
                </c:pt>
                <c:pt idx="322">
                  <c:v>0.54684467379384094</c:v>
                </c:pt>
                <c:pt idx="323">
                  <c:v>0.54655026327246936</c:v>
                </c:pt>
                <c:pt idx="324">
                  <c:v>0.5468390188485347</c:v>
                </c:pt>
                <c:pt idx="325">
                  <c:v>0.54713370620161406</c:v>
                </c:pt>
                <c:pt idx="326">
                  <c:v>0.54712567512090782</c:v>
                </c:pt>
                <c:pt idx="327">
                  <c:v>0.54770885179318196</c:v>
                </c:pt>
                <c:pt idx="328">
                  <c:v>0.54828938223601542</c:v>
                </c:pt>
                <c:pt idx="329">
                  <c:v>0.54886346666109931</c:v>
                </c:pt>
                <c:pt idx="330">
                  <c:v>0.54973116143777234</c:v>
                </c:pt>
                <c:pt idx="331">
                  <c:v>0.55088575100466985</c:v>
                </c:pt>
                <c:pt idx="332">
                  <c:v>0.55203667257167222</c:v>
                </c:pt>
                <c:pt idx="333">
                  <c:v>0.55290786195444286</c:v>
                </c:pt>
                <c:pt idx="334">
                  <c:v>0.55118834837467234</c:v>
                </c:pt>
                <c:pt idx="335">
                  <c:v>0.55031719358725129</c:v>
                </c:pt>
                <c:pt idx="336">
                  <c:v>0.5511753111278237</c:v>
                </c:pt>
                <c:pt idx="337">
                  <c:v>0.55290646683486244</c:v>
                </c:pt>
                <c:pt idx="338">
                  <c:v>0.554918762576183</c:v>
                </c:pt>
                <c:pt idx="339">
                  <c:v>0.55664306748766224</c:v>
                </c:pt>
                <c:pt idx="340">
                  <c:v>0.55778668627666872</c:v>
                </c:pt>
                <c:pt idx="341">
                  <c:v>0.55863988593268221</c:v>
                </c:pt>
                <c:pt idx="342">
                  <c:v>0.55921636910039574</c:v>
                </c:pt>
                <c:pt idx="343">
                  <c:v>0.55949865191964765</c:v>
                </c:pt>
                <c:pt idx="344">
                  <c:v>0.55978320550461047</c:v>
                </c:pt>
                <c:pt idx="345">
                  <c:v>0.55977383682392368</c:v>
                </c:pt>
                <c:pt idx="346">
                  <c:v>0.55977383682392368</c:v>
                </c:pt>
                <c:pt idx="347">
                  <c:v>0.55977383682392368</c:v>
                </c:pt>
                <c:pt idx="348">
                  <c:v>0.55976646129690077</c:v>
                </c:pt>
                <c:pt idx="349">
                  <c:v>0.55976646129690077</c:v>
                </c:pt>
                <c:pt idx="350">
                  <c:v>0.55976646129690077</c:v>
                </c:pt>
                <c:pt idx="351">
                  <c:v>0.56004824026462352</c:v>
                </c:pt>
                <c:pt idx="352">
                  <c:v>0.55975629801963056</c:v>
                </c:pt>
                <c:pt idx="353">
                  <c:v>0.55947477030377391</c:v>
                </c:pt>
                <c:pt idx="354">
                  <c:v>0.5591825558515594</c:v>
                </c:pt>
                <c:pt idx="355">
                  <c:v>0.5591825558515594</c:v>
                </c:pt>
                <c:pt idx="356">
                  <c:v>0.57643631844807819</c:v>
                </c:pt>
                <c:pt idx="357">
                  <c:v>0.5812767440651414</c:v>
                </c:pt>
                <c:pt idx="358">
                  <c:v>0.58518621339341559</c:v>
                </c:pt>
                <c:pt idx="359">
                  <c:v>0.58818276136133318</c:v>
                </c:pt>
                <c:pt idx="360">
                  <c:v>0.59057116789025754</c:v>
                </c:pt>
                <c:pt idx="361">
                  <c:v>0.59385172663918961</c:v>
                </c:pt>
                <c:pt idx="362">
                  <c:v>0.59652949925740006</c:v>
                </c:pt>
                <c:pt idx="363">
                  <c:v>0.59889707257912506</c:v>
                </c:pt>
                <c:pt idx="364">
                  <c:v>0.60067036460160539</c:v>
                </c:pt>
                <c:pt idx="365">
                  <c:v>0.60214566776484524</c:v>
                </c:pt>
                <c:pt idx="366">
                  <c:v>0.60302926476257868</c:v>
                </c:pt>
                <c:pt idx="367">
                  <c:v>0.60391203370076474</c:v>
                </c:pt>
                <c:pt idx="368">
                  <c:v>0.60508780282673469</c:v>
                </c:pt>
                <c:pt idx="369">
                  <c:v>0.60567536928311505</c:v>
                </c:pt>
                <c:pt idx="370">
                  <c:v>0.60625942263337718</c:v>
                </c:pt>
                <c:pt idx="371">
                  <c:v>0.60684617130076279</c:v>
                </c:pt>
                <c:pt idx="372">
                  <c:v>0.60713917248700244</c:v>
                </c:pt>
                <c:pt idx="373">
                  <c:v>0.60801810147067081</c:v>
                </c:pt>
                <c:pt idx="374">
                  <c:v>0.60801810147067081</c:v>
                </c:pt>
                <c:pt idx="375">
                  <c:v>0.6088962111148587</c:v>
                </c:pt>
                <c:pt idx="376">
                  <c:v>0.6088962111148587</c:v>
                </c:pt>
                <c:pt idx="377">
                  <c:v>0.60947809376412965</c:v>
                </c:pt>
                <c:pt idx="378">
                  <c:v>0.61065025462029487</c:v>
                </c:pt>
                <c:pt idx="379">
                  <c:v>0.61152591538621637</c:v>
                </c:pt>
                <c:pt idx="380">
                  <c:v>0.61152591538621637</c:v>
                </c:pt>
                <c:pt idx="381">
                  <c:v>0.6138615567235014</c:v>
                </c:pt>
                <c:pt idx="382">
                  <c:v>0.61618905004450186</c:v>
                </c:pt>
                <c:pt idx="383">
                  <c:v>0.61909358759068545</c:v>
                </c:pt>
                <c:pt idx="384">
                  <c:v>0.61966958317032839</c:v>
                </c:pt>
                <c:pt idx="385">
                  <c:v>0.62053399171192647</c:v>
                </c:pt>
                <c:pt idx="386">
                  <c:v>0.62053054200284885</c:v>
                </c:pt>
                <c:pt idx="387">
                  <c:v>0.62053242359029204</c:v>
                </c:pt>
                <c:pt idx="388">
                  <c:v>0.62024029430334415</c:v>
                </c:pt>
                <c:pt idx="389">
                  <c:v>0.62024029430334415</c:v>
                </c:pt>
                <c:pt idx="390">
                  <c:v>0.62024029430334415</c:v>
                </c:pt>
                <c:pt idx="391">
                  <c:v>0.61994789447621557</c:v>
                </c:pt>
                <c:pt idx="392">
                  <c:v>0.61994924921947925</c:v>
                </c:pt>
                <c:pt idx="393">
                  <c:v>0.62023603545666817</c:v>
                </c:pt>
                <c:pt idx="394">
                  <c:v>0.62023603545666817</c:v>
                </c:pt>
                <c:pt idx="395">
                  <c:v>0.61994336458780153</c:v>
                </c:pt>
                <c:pt idx="396">
                  <c:v>0.61994978295674485</c:v>
                </c:pt>
                <c:pt idx="397">
                  <c:v>0.62023656919393388</c:v>
                </c:pt>
                <c:pt idx="398">
                  <c:v>0.62023656919393388</c:v>
                </c:pt>
                <c:pt idx="399">
                  <c:v>0.6208168542075575</c:v>
                </c:pt>
                <c:pt idx="400">
                  <c:v>0.62168312806705517</c:v>
                </c:pt>
                <c:pt idx="401">
                  <c:v>0.62168312806705517</c:v>
                </c:pt>
                <c:pt idx="402">
                  <c:v>0.62284073528750228</c:v>
                </c:pt>
                <c:pt idx="403">
                  <c:v>0.62254355697119013</c:v>
                </c:pt>
                <c:pt idx="404">
                  <c:v>0.62687871582894028</c:v>
                </c:pt>
                <c:pt idx="405">
                  <c:v>0.63147707275365317</c:v>
                </c:pt>
                <c:pt idx="406">
                  <c:v>0.63519163918382537</c:v>
                </c:pt>
                <c:pt idx="407">
                  <c:v>0.63946090866951977</c:v>
                </c:pt>
                <c:pt idx="408">
                  <c:v>0.64313934834502995</c:v>
                </c:pt>
                <c:pt idx="409">
                  <c:v>0.64596192197502789</c:v>
                </c:pt>
                <c:pt idx="410">
                  <c:v>0.64793239163581251</c:v>
                </c:pt>
                <c:pt idx="411">
                  <c:v>0.65045760128364638</c:v>
                </c:pt>
                <c:pt idx="412">
                  <c:v>0.65213657352093413</c:v>
                </c:pt>
                <c:pt idx="413">
                  <c:v>0.6538125585307677</c:v>
                </c:pt>
                <c:pt idx="414">
                  <c:v>0.65548556692415338</c:v>
                </c:pt>
                <c:pt idx="415">
                  <c:v>0.65660104050892676</c:v>
                </c:pt>
                <c:pt idx="416">
                  <c:v>0.65771297975959542</c:v>
                </c:pt>
                <c:pt idx="417">
                  <c:v>0.6588219577975144</c:v>
                </c:pt>
                <c:pt idx="418">
                  <c:v>0.65965402862136069</c:v>
                </c:pt>
                <c:pt idx="419">
                  <c:v>0.66021016314750958</c:v>
                </c:pt>
                <c:pt idx="420">
                  <c:v>0.66104100805253674</c:v>
                </c:pt>
                <c:pt idx="421">
                  <c:v>0.6613197274499002</c:v>
                </c:pt>
                <c:pt idx="422">
                  <c:v>0.66242602718074683</c:v>
                </c:pt>
                <c:pt idx="423">
                  <c:v>0.66297897485114055</c:v>
                </c:pt>
                <c:pt idx="424">
                  <c:v>0.66380738215615909</c:v>
                </c:pt>
                <c:pt idx="425">
                  <c:v>0.66463506158243801</c:v>
                </c:pt>
                <c:pt idx="426">
                  <c:v>0.66601496828262496</c:v>
                </c:pt>
                <c:pt idx="427">
                  <c:v>0.66684071065159589</c:v>
                </c:pt>
                <c:pt idx="428">
                  <c:v>0.66849278018797353</c:v>
                </c:pt>
                <c:pt idx="429">
                  <c:v>0.67013993142781769</c:v>
                </c:pt>
                <c:pt idx="430">
                  <c:v>0.67205976462257022</c:v>
                </c:pt>
                <c:pt idx="431">
                  <c:v>0.67370069668349386</c:v>
                </c:pt>
                <c:pt idx="432">
                  <c:v>0.6758861903253538</c:v>
                </c:pt>
                <c:pt idx="433">
                  <c:v>0.67724813384016436</c:v>
                </c:pt>
                <c:pt idx="434">
                  <c:v>0.67833620319353338</c:v>
                </c:pt>
                <c:pt idx="435">
                  <c:v>0.67887959222270811</c:v>
                </c:pt>
                <c:pt idx="436">
                  <c:v>0.68023847903880164</c:v>
                </c:pt>
                <c:pt idx="437">
                  <c:v>0.68050964099639089</c:v>
                </c:pt>
                <c:pt idx="438">
                  <c:v>0.6813227852018634</c:v>
                </c:pt>
                <c:pt idx="439">
                  <c:v>0.68159478152623743</c:v>
                </c:pt>
                <c:pt idx="440">
                  <c:v>0.68213522809457539</c:v>
                </c:pt>
                <c:pt idx="441">
                  <c:v>0.6824069903026434</c:v>
                </c:pt>
                <c:pt idx="442">
                  <c:v>0.68294697088321377</c:v>
                </c:pt>
                <c:pt idx="443">
                  <c:v>0.68321849937765256</c:v>
                </c:pt>
                <c:pt idx="444">
                  <c:v>0.68376001969973332</c:v>
                </c:pt>
                <c:pt idx="445">
                  <c:v>0.68457036417254435</c:v>
                </c:pt>
                <c:pt idx="446">
                  <c:v>0.68457036417254435</c:v>
                </c:pt>
                <c:pt idx="447">
                  <c:v>0.68538001215160527</c:v>
                </c:pt>
                <c:pt idx="448">
                  <c:v>0.68645956247915463</c:v>
                </c:pt>
                <c:pt idx="449">
                  <c:v>0.68699899186263114</c:v>
                </c:pt>
                <c:pt idx="450">
                  <c:v>0.68807646029246772</c:v>
                </c:pt>
                <c:pt idx="451">
                  <c:v>0.68968974605348876</c:v>
                </c:pt>
                <c:pt idx="452">
                  <c:v>0.6913002735752044</c:v>
                </c:pt>
                <c:pt idx="453">
                  <c:v>0.6921041629241671</c:v>
                </c:pt>
                <c:pt idx="454">
                  <c:v>0.69371164519773421</c:v>
                </c:pt>
                <c:pt idx="455">
                  <c:v>0.69584993076071699</c:v>
                </c:pt>
                <c:pt idx="456">
                  <c:v>0.69744997401815556</c:v>
                </c:pt>
                <c:pt idx="457">
                  <c:v>0.69851512565827301</c:v>
                </c:pt>
                <c:pt idx="458">
                  <c:v>0.69931288976293571</c:v>
                </c:pt>
                <c:pt idx="459">
                  <c:v>0.70037584104141348</c:v>
                </c:pt>
                <c:pt idx="460">
                  <c:v>0.70143762079050964</c:v>
                </c:pt>
                <c:pt idx="461">
                  <c:v>0.70196777147129763</c:v>
                </c:pt>
                <c:pt idx="462">
                  <c:v>0.70249787696011146</c:v>
                </c:pt>
                <c:pt idx="463">
                  <c:v>0.7030275390331594</c:v>
                </c:pt>
                <c:pt idx="464">
                  <c:v>0.70355697574632892</c:v>
                </c:pt>
                <c:pt idx="465">
                  <c:v>0.70435048412661205</c:v>
                </c:pt>
                <c:pt idx="466">
                  <c:v>0.70435048412661205</c:v>
                </c:pt>
                <c:pt idx="467">
                  <c:v>0.70487903048711609</c:v>
                </c:pt>
                <c:pt idx="468">
                  <c:v>0.70567142694075713</c:v>
                </c:pt>
                <c:pt idx="469">
                  <c:v>0.70567142694075713</c:v>
                </c:pt>
                <c:pt idx="470">
                  <c:v>0.70646315739088628</c:v>
                </c:pt>
                <c:pt idx="471">
                  <c:v>0.70699037382327423</c:v>
                </c:pt>
                <c:pt idx="472">
                  <c:v>0.70804437205079596</c:v>
                </c:pt>
                <c:pt idx="473">
                  <c:v>0.70857048642676601</c:v>
                </c:pt>
                <c:pt idx="474">
                  <c:v>0.70962250504474123</c:v>
                </c:pt>
                <c:pt idx="475">
                  <c:v>0.71119935045687788</c:v>
                </c:pt>
                <c:pt idx="476">
                  <c:v>0.71224830108840298</c:v>
                </c:pt>
                <c:pt idx="477">
                  <c:v>0.71303453243038317</c:v>
                </c:pt>
                <c:pt idx="478">
                  <c:v>0.71408130375398271</c:v>
                </c:pt>
                <c:pt idx="479">
                  <c:v>0.71486600925642385</c:v>
                </c:pt>
                <c:pt idx="480">
                  <c:v>0.71565006160291278</c:v>
                </c:pt>
                <c:pt idx="481">
                  <c:v>0.71617159690664245</c:v>
                </c:pt>
                <c:pt idx="482">
                  <c:v>0.7166926998462384</c:v>
                </c:pt>
                <c:pt idx="483">
                  <c:v>0.71747523611127484</c:v>
                </c:pt>
                <c:pt idx="484">
                  <c:v>0.71747523611127484</c:v>
                </c:pt>
                <c:pt idx="485">
                  <c:v>0.71825712282140619</c:v>
                </c:pt>
                <c:pt idx="486">
                  <c:v>0.71877693295936618</c:v>
                </c:pt>
                <c:pt idx="487">
                  <c:v>0.71877693295936618</c:v>
                </c:pt>
                <c:pt idx="488">
                  <c:v>0.71929762639600081</c:v>
                </c:pt>
                <c:pt idx="489">
                  <c:v>0.7198167943026178</c:v>
                </c:pt>
                <c:pt idx="490">
                  <c:v>0.72007669351068115</c:v>
                </c:pt>
                <c:pt idx="491">
                  <c:v>0.7203355337577162</c:v>
                </c:pt>
                <c:pt idx="492">
                  <c:v>0.72059521724598541</c:v>
                </c:pt>
                <c:pt idx="493">
                  <c:v>0.72085384546791642</c:v>
                </c:pt>
                <c:pt idx="494">
                  <c:v>0.72163294033979219</c:v>
                </c:pt>
                <c:pt idx="495">
                  <c:v>0.72163294033979219</c:v>
                </c:pt>
                <c:pt idx="496">
                  <c:v>0.72215039867307584</c:v>
                </c:pt>
                <c:pt idx="497">
                  <c:v>0.72240839289871184</c:v>
                </c:pt>
                <c:pt idx="498">
                  <c:v>0.72240839289871184</c:v>
                </c:pt>
                <c:pt idx="499">
                  <c:v>0.72344399120984593</c:v>
                </c:pt>
                <c:pt idx="500">
                  <c:v>0.7247371417299</c:v>
                </c:pt>
                <c:pt idx="501">
                  <c:v>0.75706292213878479</c:v>
                </c:pt>
                <c:pt idx="502">
                  <c:v>0.75972777952683979</c:v>
                </c:pt>
                <c:pt idx="503">
                  <c:v>0.76179585839387476</c:v>
                </c:pt>
                <c:pt idx="504">
                  <c:v>0.76385736529814208</c:v>
                </c:pt>
                <c:pt idx="505">
                  <c:v>0.76562118532002754</c:v>
                </c:pt>
                <c:pt idx="506">
                  <c:v>0.76620686478601607</c:v>
                </c:pt>
                <c:pt idx="507">
                  <c:v>0.76708657936355717</c:v>
                </c:pt>
                <c:pt idx="508">
                  <c:v>0.76737848705777889</c:v>
                </c:pt>
                <c:pt idx="509">
                  <c:v>0.76767279478832817</c:v>
                </c:pt>
                <c:pt idx="510">
                  <c:v>0.76825710875496622</c:v>
                </c:pt>
                <c:pt idx="511">
                  <c:v>0.76854847275819471</c:v>
                </c:pt>
                <c:pt idx="512">
                  <c:v>0.76884250640816054</c:v>
                </c:pt>
                <c:pt idx="513">
                  <c:v>0.76884250640816054</c:v>
                </c:pt>
                <c:pt idx="514">
                  <c:v>0.76971976470356296</c:v>
                </c:pt>
                <c:pt idx="515">
                  <c:v>0.76971976470356296</c:v>
                </c:pt>
                <c:pt idx="516">
                  <c:v>0.77001058703733005</c:v>
                </c:pt>
                <c:pt idx="517">
                  <c:v>0.77030407405474344</c:v>
                </c:pt>
                <c:pt idx="518">
                  <c:v>0.7705946263083342</c:v>
                </c:pt>
                <c:pt idx="519">
                  <c:v>0.77117997350770306</c:v>
                </c:pt>
                <c:pt idx="520">
                  <c:v>0.77147025618228715</c:v>
                </c:pt>
                <c:pt idx="521">
                  <c:v>0.7723480016910953</c:v>
                </c:pt>
                <c:pt idx="522">
                  <c:v>0.77351440407356709</c:v>
                </c:pt>
                <c:pt idx="523">
                  <c:v>0.77613528535691367</c:v>
                </c:pt>
                <c:pt idx="524">
                  <c:v>0.77816707216818504</c:v>
                </c:pt>
                <c:pt idx="525">
                  <c:v>0.77932568391938706</c:v>
                </c:pt>
                <c:pt idx="526">
                  <c:v>0.78135026119299411</c:v>
                </c:pt>
                <c:pt idx="527">
                  <c:v>0.78337032609629098</c:v>
                </c:pt>
                <c:pt idx="528">
                  <c:v>0.78567453460439951</c:v>
                </c:pt>
                <c:pt idx="529">
                  <c:v>0.78653628005466414</c:v>
                </c:pt>
                <c:pt idx="530">
                  <c:v>0.78739723788215554</c:v>
                </c:pt>
                <c:pt idx="531">
                  <c:v>0.78825740952533752</c:v>
                </c:pt>
                <c:pt idx="532">
                  <c:v>0.78882974750868062</c:v>
                </c:pt>
                <c:pt idx="533">
                  <c:v>0.78968861375577015</c:v>
                </c:pt>
                <c:pt idx="534">
                  <c:v>0.78997439700462369</c:v>
                </c:pt>
                <c:pt idx="535">
                  <c:v>0.7905466976300829</c:v>
                </c:pt>
                <c:pt idx="536">
                  <c:v>0.79111747651112119</c:v>
                </c:pt>
                <c:pt idx="537">
                  <c:v>0.79140274334644223</c:v>
                </c:pt>
                <c:pt idx="538">
                  <c:v>0.79197274690512509</c:v>
                </c:pt>
                <c:pt idx="539">
                  <c:v>0.79225927094974014</c:v>
                </c:pt>
                <c:pt idx="540">
                  <c:v>0.79282875809676645</c:v>
                </c:pt>
                <c:pt idx="541">
                  <c:v>0.79339951613271753</c:v>
                </c:pt>
                <c:pt idx="542">
                  <c:v>0.79396823168512898</c:v>
                </c:pt>
                <c:pt idx="543">
                  <c:v>0.79425423278021945</c:v>
                </c:pt>
                <c:pt idx="544">
                  <c:v>0.79425423278021945</c:v>
                </c:pt>
                <c:pt idx="545">
                  <c:v>0.7948224342489425</c:v>
                </c:pt>
                <c:pt idx="546">
                  <c:v>0.79567385129488766</c:v>
                </c:pt>
                <c:pt idx="547">
                  <c:v>0.7962432937220546</c:v>
                </c:pt>
                <c:pt idx="548">
                  <c:v>0.7965265134326156</c:v>
                </c:pt>
                <c:pt idx="549">
                  <c:v>0.79595806749763476</c:v>
                </c:pt>
                <c:pt idx="550">
                  <c:v>0.79709369232282923</c:v>
                </c:pt>
                <c:pt idx="551">
                  <c:v>0.79681050381208829</c:v>
                </c:pt>
                <c:pt idx="552">
                  <c:v>0.79737666139257823</c:v>
                </c:pt>
                <c:pt idx="553">
                  <c:v>0.79624307364432878</c:v>
                </c:pt>
                <c:pt idx="554">
                  <c:v>0.79822900520657536</c:v>
                </c:pt>
                <c:pt idx="555">
                  <c:v>0.79851171771851426</c:v>
                </c:pt>
                <c:pt idx="556">
                  <c:v>0.79879417731176294</c:v>
                </c:pt>
                <c:pt idx="557">
                  <c:v>0.79964403139662421</c:v>
                </c:pt>
                <c:pt idx="558">
                  <c:v>0.80049311940485335</c:v>
                </c:pt>
                <c:pt idx="559">
                  <c:v>0.80105648181442213</c:v>
                </c:pt>
                <c:pt idx="560">
                  <c:v>0.80190430067262264</c:v>
                </c:pt>
                <c:pt idx="561">
                  <c:v>0.80275140622252839</c:v>
                </c:pt>
                <c:pt idx="562">
                  <c:v>0.80331326062488939</c:v>
                </c:pt>
                <c:pt idx="563">
                  <c:v>0.80415905690305778</c:v>
                </c:pt>
                <c:pt idx="564">
                  <c:v>0.80415905690305778</c:v>
                </c:pt>
                <c:pt idx="565">
                  <c:v>0.80500409438618903</c:v>
                </c:pt>
                <c:pt idx="566">
                  <c:v>0.80528404946096588</c:v>
                </c:pt>
                <c:pt idx="567">
                  <c:v>0.80612808149820225</c:v>
                </c:pt>
                <c:pt idx="568">
                  <c:v>0.80668768664380786</c:v>
                </c:pt>
                <c:pt idx="569">
                  <c:v>0.80725057025355662</c:v>
                </c:pt>
                <c:pt idx="570">
                  <c:v>0.80808839660430776</c:v>
                </c:pt>
                <c:pt idx="571">
                  <c:v>0.80892992975397282</c:v>
                </c:pt>
                <c:pt idx="572">
                  <c:v>0.81033209854582788</c:v>
                </c:pt>
                <c:pt idx="573">
                  <c:v>0.81144936966503867</c:v>
                </c:pt>
                <c:pt idx="574">
                  <c:v>0.81340370285672403</c:v>
                </c:pt>
                <c:pt idx="575">
                  <c:v>0.81535384199766081</c:v>
                </c:pt>
                <c:pt idx="576">
                  <c:v>0.81758118478003539</c:v>
                </c:pt>
                <c:pt idx="577">
                  <c:v>0.81924741162189452</c:v>
                </c:pt>
                <c:pt idx="578">
                  <c:v>0.8203536523116135</c:v>
                </c:pt>
                <c:pt idx="579">
                  <c:v>0.8209044512548771</c:v>
                </c:pt>
                <c:pt idx="580">
                  <c:v>0.82173463935829794</c:v>
                </c:pt>
                <c:pt idx="581">
                  <c:v>0.82228447465444054</c:v>
                </c:pt>
                <c:pt idx="582">
                  <c:v>0.82311345108926781</c:v>
                </c:pt>
                <c:pt idx="583">
                  <c:v>0.82311345108926781</c:v>
                </c:pt>
                <c:pt idx="584">
                  <c:v>0.82366232610456969</c:v>
                </c:pt>
                <c:pt idx="585">
                  <c:v>0.82449009467345313</c:v>
                </c:pt>
                <c:pt idx="586">
                  <c:v>0.82448757878989498</c:v>
                </c:pt>
                <c:pt idx="587">
                  <c:v>0.82531462747308082</c:v>
                </c:pt>
                <c:pt idx="588">
                  <c:v>0.82558984445642603</c:v>
                </c:pt>
                <c:pt idx="589">
                  <c:v>0.82613705039896701</c:v>
                </c:pt>
                <c:pt idx="590">
                  <c:v>0.82668792196804652</c:v>
                </c:pt>
                <c:pt idx="591">
                  <c:v>0.82723441781386187</c:v>
                </c:pt>
                <c:pt idx="592">
                  <c:v>0.82750594630830054</c:v>
                </c:pt>
                <c:pt idx="593">
                  <c:v>0.82833036140331195</c:v>
                </c:pt>
                <c:pt idx="594">
                  <c:v>0.82914673793234617</c:v>
                </c:pt>
                <c:pt idx="595">
                  <c:v>0.82996972719136819</c:v>
                </c:pt>
                <c:pt idx="596">
                  <c:v>0.83134049660448728</c:v>
                </c:pt>
                <c:pt idx="597">
                  <c:v>0.8316140292733688</c:v>
                </c:pt>
                <c:pt idx="598">
                  <c:v>0.83297467404072556</c:v>
                </c:pt>
                <c:pt idx="599">
                  <c:v>0.83461015755130086</c:v>
                </c:pt>
                <c:pt idx="600">
                  <c:v>0.83596974861328521</c:v>
                </c:pt>
                <c:pt idx="601">
                  <c:v>0.83733155080398813</c:v>
                </c:pt>
                <c:pt idx="602">
                  <c:v>0.83787127207777223</c:v>
                </c:pt>
                <c:pt idx="603">
                  <c:v>0.83895409161644319</c:v>
                </c:pt>
                <c:pt idx="604">
                  <c:v>0.83976859049491726</c:v>
                </c:pt>
                <c:pt idx="605">
                  <c:v>0.84058238552864839</c:v>
                </c:pt>
                <c:pt idx="606">
                  <c:v>0.8413954779333731</c:v>
                </c:pt>
                <c:pt idx="607">
                  <c:v>0.8421989288313475</c:v>
                </c:pt>
                <c:pt idx="608">
                  <c:v>0.8430106370852628</c:v>
                </c:pt>
                <c:pt idx="609">
                  <c:v>0.84354668577265823</c:v>
                </c:pt>
                <c:pt idx="610">
                  <c:v>0.84435723815998198</c:v>
                </c:pt>
                <c:pt idx="611">
                  <c:v>0.84516709348162855</c:v>
                </c:pt>
                <c:pt idx="612">
                  <c:v>0.8456969362964184</c:v>
                </c:pt>
                <c:pt idx="613">
                  <c:v>0.8465056519218721</c:v>
                </c:pt>
                <c:pt idx="614">
                  <c:v>0.84703943490642786</c:v>
                </c:pt>
                <c:pt idx="615">
                  <c:v>0.84784700362527454</c:v>
                </c:pt>
                <c:pt idx="616">
                  <c:v>0.84891769499047953</c:v>
                </c:pt>
                <c:pt idx="617">
                  <c:v>0.84972366107191</c:v>
                </c:pt>
                <c:pt idx="618">
                  <c:v>0.85051857220293192</c:v>
                </c:pt>
                <c:pt idx="619">
                  <c:v>0.8518594184322531</c:v>
                </c:pt>
                <c:pt idx="620">
                  <c:v>0.85292516441253285</c:v>
                </c:pt>
                <c:pt idx="621">
                  <c:v>0.85425748421204639</c:v>
                </c:pt>
                <c:pt idx="622">
                  <c:v>0.85532033034748256</c:v>
                </c:pt>
                <c:pt idx="623">
                  <c:v>0.85638184688027696</c:v>
                </c:pt>
                <c:pt idx="624">
                  <c:v>0.85798112995790043</c:v>
                </c:pt>
                <c:pt idx="625">
                  <c:v>0.85877941560673265</c:v>
                </c:pt>
                <c:pt idx="626">
                  <c:v>0.85983693064277888</c:v>
                </c:pt>
                <c:pt idx="627">
                  <c:v>0.86062197580644673</c:v>
                </c:pt>
                <c:pt idx="628">
                  <c:v>0.86141804483067752</c:v>
                </c:pt>
                <c:pt idx="629">
                  <c:v>0.86247907785126154</c:v>
                </c:pt>
                <c:pt idx="630">
                  <c:v>0.86300839185657485</c:v>
                </c:pt>
                <c:pt idx="631">
                  <c:v>0.86353199459022145</c:v>
                </c:pt>
                <c:pt idx="632">
                  <c:v>0.8640551614102524</c:v>
                </c:pt>
                <c:pt idx="633">
                  <c:v>0.86510633945966353</c:v>
                </c:pt>
                <c:pt idx="634">
                  <c:v>0.86589864533200045</c:v>
                </c:pt>
                <c:pt idx="635">
                  <c:v>0.86642029880117333</c:v>
                </c:pt>
                <c:pt idx="636">
                  <c:v>0.86667745251784822</c:v>
                </c:pt>
                <c:pt idx="637">
                  <c:v>0.86746845025049346</c:v>
                </c:pt>
                <c:pt idx="638">
                  <c:v>0.86798903014377038</c:v>
                </c:pt>
                <c:pt idx="639">
                  <c:v>0.8685153108941942</c:v>
                </c:pt>
                <c:pt idx="640">
                  <c:v>0.86929887369051739</c:v>
                </c:pt>
                <c:pt idx="641">
                  <c:v>0.8700806170355323</c:v>
                </c:pt>
                <c:pt idx="642">
                  <c:v>0.87112447770532675</c:v>
                </c:pt>
                <c:pt idx="643">
                  <c:v>0.87243001638948481</c:v>
                </c:pt>
                <c:pt idx="644">
                  <c:v>0.87347110135322403</c:v>
                </c:pt>
                <c:pt idx="645">
                  <c:v>0.87529626756421042</c:v>
                </c:pt>
                <c:pt idx="646">
                  <c:v>0.87633395424437455</c:v>
                </c:pt>
                <c:pt idx="647">
                  <c:v>0.87815336290031498</c:v>
                </c:pt>
                <c:pt idx="648">
                  <c:v>0.87971632741500283</c:v>
                </c:pt>
                <c:pt idx="649">
                  <c:v>0.88074893940846299</c:v>
                </c:pt>
                <c:pt idx="650">
                  <c:v>0.8817888274036686</c:v>
                </c:pt>
                <c:pt idx="651">
                  <c:v>0.88230076382065237</c:v>
                </c:pt>
                <c:pt idx="652">
                  <c:v>0.8830788254017764</c:v>
                </c:pt>
                <c:pt idx="653">
                  <c:v>0.88358992896755251</c:v>
                </c:pt>
                <c:pt idx="654">
                  <c:v>0.88384114899725763</c:v>
                </c:pt>
                <c:pt idx="655">
                  <c:v>0.88436693255521526</c:v>
                </c:pt>
                <c:pt idx="656">
                  <c:v>0.88512822627640675</c:v>
                </c:pt>
                <c:pt idx="657">
                  <c:v>0.88539431559547621</c:v>
                </c:pt>
                <c:pt idx="658">
                  <c:v>0.8861630143316015</c:v>
                </c:pt>
                <c:pt idx="659">
                  <c:v>0.88641343734344591</c:v>
                </c:pt>
                <c:pt idx="660">
                  <c:v>0.8869295254804811</c:v>
                </c:pt>
                <c:pt idx="661">
                  <c:v>0.88743816211545579</c:v>
                </c:pt>
                <c:pt idx="662">
                  <c:v>0.88821202557094814</c:v>
                </c:pt>
                <c:pt idx="663">
                  <c:v>0.8887198400247639</c:v>
                </c:pt>
                <c:pt idx="664">
                  <c:v>0.88896927384790603</c:v>
                </c:pt>
                <c:pt idx="665">
                  <c:v>0.8899911315083968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2FB-5548-A0F9-8A3D001676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06550016"/>
        <c:axId val="610340512"/>
      </c:scatterChart>
      <c:valAx>
        <c:axId val="6065500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ime [days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0340512"/>
        <c:crosses val="autoZero"/>
        <c:crossBetween val="midCat"/>
      </c:valAx>
      <c:valAx>
        <c:axId val="61034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volume [L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55001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rgbClr val="D9D9D9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917</cdr:x>
      <cdr:y>0.50893</cdr:y>
    </cdr:from>
    <cdr:to>
      <cdr:x>0.40593</cdr:x>
      <cdr:y>0.70536</cdr:y>
    </cdr:to>
    <cdr:sp macro="" textlink="">
      <cdr:nvSpPr>
        <cdr:cNvPr id="6" name="TextBox 5">
          <a:extLst xmlns:a="http://schemas.openxmlformats.org/drawingml/2006/main">
            <a:ext uri="{FF2B5EF4-FFF2-40B4-BE49-F238E27FC236}">
              <a16:creationId xmlns:a16="http://schemas.microsoft.com/office/drawing/2014/main" id="{6B18B6F6-A9DC-454A-9131-3FE4EDCF969E}"/>
            </a:ext>
          </a:extLst>
        </cdr:cNvPr>
        <cdr:cNvSpPr txBox="1"/>
      </cdr:nvSpPr>
      <cdr:spPr>
        <a:xfrm xmlns:a="http://schemas.openxmlformats.org/drawingml/2006/main">
          <a:off x="2017861" y="2052228"/>
          <a:ext cx="720080" cy="7920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200" dirty="0"/>
            <a:t>After two weeks</a:t>
          </a:r>
        </a:p>
      </cdr:txBody>
    </cdr:sp>
  </cdr:relSizeAnchor>
  <cdr:relSizeAnchor xmlns:cdr="http://schemas.openxmlformats.org/drawingml/2006/chartDrawing">
    <cdr:from>
      <cdr:x>0.5338</cdr:x>
      <cdr:y>0.64286</cdr:y>
    </cdr:from>
    <cdr:to>
      <cdr:x>0.6192</cdr:x>
      <cdr:y>0.64286</cdr:y>
    </cdr:to>
    <cdr:cxnSp macro="">
      <cdr:nvCxnSpPr>
        <cdr:cNvPr id="7" name="Straight Connector 6">
          <a:extLst xmlns:a="http://schemas.openxmlformats.org/drawingml/2006/main">
            <a:ext uri="{FF2B5EF4-FFF2-40B4-BE49-F238E27FC236}">
              <a16:creationId xmlns:a16="http://schemas.microsoft.com/office/drawing/2014/main" id="{C780FA59-0B7D-AC4C-96D4-8BC71B32F5BC}"/>
            </a:ext>
          </a:extLst>
        </cdr:cNvPr>
        <cdr:cNvCxnSpPr/>
      </cdr:nvCxnSpPr>
      <cdr:spPr>
        <a:xfrm xmlns:a="http://schemas.openxmlformats.org/drawingml/2006/main" flipH="1">
          <a:off x="3600400" y="2592288"/>
          <a:ext cx="576064" cy="0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rgbClr val="27401F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8336</cdr:x>
      <cdr:y>0.66177</cdr:y>
    </cdr:from>
    <cdr:to>
      <cdr:x>0.4581</cdr:x>
      <cdr:y>0.66177</cdr:y>
    </cdr:to>
    <cdr:cxnSp macro="">
      <cdr:nvCxnSpPr>
        <cdr:cNvPr id="14" name="Straight Connector 13">
          <a:extLst xmlns:a="http://schemas.openxmlformats.org/drawingml/2006/main">
            <a:ext uri="{FF2B5EF4-FFF2-40B4-BE49-F238E27FC236}">
              <a16:creationId xmlns:a16="http://schemas.microsoft.com/office/drawing/2014/main" id="{2F5AA38A-09FF-9F4F-9C9F-08159B67D6CE}"/>
            </a:ext>
          </a:extLst>
        </cdr:cNvPr>
        <cdr:cNvCxnSpPr/>
      </cdr:nvCxnSpPr>
      <cdr:spPr>
        <a:xfrm xmlns:a="http://schemas.openxmlformats.org/drawingml/2006/main" flipH="1">
          <a:off x="2585747" y="2668557"/>
          <a:ext cx="504056" cy="0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rgbClr val="27401F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5907</cdr:x>
      <cdr:y>0.6084</cdr:y>
    </cdr:from>
    <cdr:to>
      <cdr:x>0.53678</cdr:x>
      <cdr:y>0.6084</cdr:y>
    </cdr:to>
    <cdr:cxnSp macro="">
      <cdr:nvCxnSpPr>
        <cdr:cNvPr id="15" name="Straight Connector 14">
          <a:extLst xmlns:a="http://schemas.openxmlformats.org/drawingml/2006/main">
            <a:ext uri="{FF2B5EF4-FFF2-40B4-BE49-F238E27FC236}">
              <a16:creationId xmlns:a16="http://schemas.microsoft.com/office/drawing/2014/main" id="{9F92348D-6AD5-EE47-95AC-5523D649BF1A}"/>
            </a:ext>
          </a:extLst>
        </cdr:cNvPr>
        <cdr:cNvCxnSpPr/>
      </cdr:nvCxnSpPr>
      <cdr:spPr>
        <a:xfrm xmlns:a="http://schemas.openxmlformats.org/drawingml/2006/main" flipH="1">
          <a:off x="3096344" y="2453328"/>
          <a:ext cx="524170" cy="0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rgbClr val="0070C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>
            <a:extLst>
              <a:ext uri="{FF2B5EF4-FFF2-40B4-BE49-F238E27FC236}">
                <a16:creationId xmlns:a16="http://schemas.microsoft.com/office/drawing/2014/main" id="{B242C26D-968E-7047-80CF-7ECD13142DDF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9219" name="Rectangle 3">
            <a:extLst>
              <a:ext uri="{FF2B5EF4-FFF2-40B4-BE49-F238E27FC236}">
                <a16:creationId xmlns:a16="http://schemas.microsoft.com/office/drawing/2014/main" id="{E2CC6C8E-6AA8-694E-AA06-CD8A4B342196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12292" name="Rectangle 4">
            <a:extLst>
              <a:ext uri="{FF2B5EF4-FFF2-40B4-BE49-F238E27FC236}">
                <a16:creationId xmlns:a16="http://schemas.microsoft.com/office/drawing/2014/main" id="{ADFBE943-B82C-974D-9CC1-4791C064CC4E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>
            <a:extLst>
              <a:ext uri="{FF2B5EF4-FFF2-40B4-BE49-F238E27FC236}">
                <a16:creationId xmlns:a16="http://schemas.microsoft.com/office/drawing/2014/main" id="{563CCAAC-A049-AD4E-9FC0-54520DDFCC06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Textmasterformate durch Klicken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9222" name="Rectangle 6">
            <a:extLst>
              <a:ext uri="{FF2B5EF4-FFF2-40B4-BE49-F238E27FC236}">
                <a16:creationId xmlns:a16="http://schemas.microsoft.com/office/drawing/2014/main" id="{848C8AFF-3838-0C40-BABF-2E4E4F0B4D0B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9223" name="Rectangle 7">
            <a:extLst>
              <a:ext uri="{FF2B5EF4-FFF2-40B4-BE49-F238E27FC236}">
                <a16:creationId xmlns:a16="http://schemas.microsoft.com/office/drawing/2014/main" id="{8AA6E209-94D3-A447-86FD-E78319D56FC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/>
            </a:lvl1pPr>
          </a:lstStyle>
          <a:p>
            <a:pPr>
              <a:defRPr/>
            </a:pPr>
            <a:fld id="{121A0F23-4F26-0F46-9424-13EE2840572C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A0F23-4F26-0F46-9424-13EE2840572C}" type="slidenum">
              <a:rPr lang="de-DE" altLang="de-DE" smtClean="0"/>
              <a:pPr>
                <a:defRPr/>
              </a:pPr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91628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A0F23-4F26-0F46-9424-13EE2840572C}" type="slidenum">
              <a:rPr lang="de-DE" altLang="de-DE" smtClean="0"/>
              <a:pPr>
                <a:defRPr/>
              </a:pPr>
              <a:t>2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90436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>
            <a:extLst>
              <a:ext uri="{FF2B5EF4-FFF2-40B4-BE49-F238E27FC236}">
                <a16:creationId xmlns:a16="http://schemas.microsoft.com/office/drawing/2014/main" id="{A30F5C09-A8C0-724A-970D-BB0BC416134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531" name="Notes Placeholder 2">
            <a:extLst>
              <a:ext uri="{FF2B5EF4-FFF2-40B4-BE49-F238E27FC236}">
                <a16:creationId xmlns:a16="http://schemas.microsoft.com/office/drawing/2014/main" id="{D8C25E66-0996-4E4D-92A3-CED3CDA0FC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de-DE"/>
          </a:p>
        </p:txBody>
      </p:sp>
      <p:sp>
        <p:nvSpPr>
          <p:cNvPr id="22532" name="Slide Number Placeholder 3">
            <a:extLst>
              <a:ext uri="{FF2B5EF4-FFF2-40B4-BE49-F238E27FC236}">
                <a16:creationId xmlns:a16="http://schemas.microsoft.com/office/drawing/2014/main" id="{8970E932-844D-F242-9099-5C355C6D46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DF92733F-C552-9441-B957-4998A130D1F9}" type="slidenum">
              <a:rPr lang="de-DE" altLang="de-DE" smtClean="0"/>
              <a:pPr/>
              <a:t>24</a:t>
            </a:fld>
            <a:endParaRPr lang="de-DE" alt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Nochmal</a:t>
            </a:r>
            <a:r>
              <a:rPr lang="en-US" dirty="0"/>
              <a:t> </a:t>
            </a:r>
            <a:r>
              <a:rPr lang="en-US" dirty="0" err="1"/>
              <a:t>genauso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NL und NL/k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A0F23-4F26-0F46-9424-13EE2840572C}" type="slidenum">
              <a:rPr lang="de-DE" altLang="de-DE" smtClean="0"/>
              <a:pPr>
                <a:defRPr/>
              </a:pPr>
              <a:t>2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261130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A0F23-4F26-0F46-9424-13EE2840572C}" type="slidenum">
              <a:rPr lang="de-DE" altLang="de-DE" smtClean="0"/>
              <a:pPr>
                <a:defRPr/>
              </a:pPr>
              <a:t>2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432253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2.jpeg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.jpeg"/><Relationship Id="rId5" Type="http://schemas.openxmlformats.org/officeDocument/2006/relationships/image" Target="../media/image1.pn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>
            <a:extLst>
              <a:ext uri="{FF2B5EF4-FFF2-40B4-BE49-F238E27FC236}">
                <a16:creationId xmlns:a16="http://schemas.microsoft.com/office/drawing/2014/main" id="{433CEC30-EDFD-5D45-81F4-257D799652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3" y="-78333"/>
            <a:ext cx="2306637" cy="163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18">
            <a:extLst>
              <a:ext uri="{FF2B5EF4-FFF2-40B4-BE49-F238E27FC236}">
                <a16:creationId xmlns:a16="http://schemas.microsoft.com/office/drawing/2014/main" id="{7ADC8FB2-0406-D946-BEF9-A9FB1B0624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463" y="2784475"/>
            <a:ext cx="7486650" cy="183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BBDB635C-9B3D-2949-843E-F8814A191396}"/>
              </a:ext>
            </a:extLst>
          </p:cNvPr>
          <p:cNvSpPr/>
          <p:nvPr userDrawn="1"/>
        </p:nvSpPr>
        <p:spPr>
          <a:xfrm>
            <a:off x="-14288" y="2794000"/>
            <a:ext cx="1849438" cy="1822450"/>
          </a:xfrm>
          <a:prstGeom prst="ellipse">
            <a:avLst/>
          </a:prstGeom>
          <a:solidFill>
            <a:srgbClr val="FFFFFF">
              <a:alpha val="7098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F13675-B153-B54D-835F-E625AD724EAC}"/>
              </a:ext>
            </a:extLst>
          </p:cNvPr>
          <p:cNvSpPr/>
          <p:nvPr/>
        </p:nvSpPr>
        <p:spPr>
          <a:xfrm>
            <a:off x="3175" y="6400800"/>
            <a:ext cx="9140825" cy="4572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4BD333-0202-A948-8D7D-994B39D9EC5E}"/>
              </a:ext>
            </a:extLst>
          </p:cNvPr>
          <p:cNvSpPr/>
          <p:nvPr/>
        </p:nvSpPr>
        <p:spPr>
          <a:xfrm>
            <a:off x="0" y="6308725"/>
            <a:ext cx="8312150" cy="46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D24775A-6F04-9C45-8FF2-7EE4BFA851F7}"/>
              </a:ext>
            </a:extLst>
          </p:cNvPr>
          <p:cNvCxnSpPr/>
          <p:nvPr userDrawn="1"/>
        </p:nvCxnSpPr>
        <p:spPr>
          <a:xfrm>
            <a:off x="9104313" y="-26988"/>
            <a:ext cx="0" cy="6423026"/>
          </a:xfrm>
          <a:prstGeom prst="line">
            <a:avLst/>
          </a:prstGeom>
          <a:ln w="762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07A4E2-694B-2143-B592-870CD73B1395}"/>
              </a:ext>
            </a:extLst>
          </p:cNvPr>
          <p:cNvCxnSpPr/>
          <p:nvPr userDrawn="1"/>
        </p:nvCxnSpPr>
        <p:spPr>
          <a:xfrm>
            <a:off x="9036050" y="0"/>
            <a:ext cx="0" cy="6118225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3">
            <a:extLst>
              <a:ext uri="{FF2B5EF4-FFF2-40B4-BE49-F238E27FC236}">
                <a16:creationId xmlns:a16="http://schemas.microsoft.com/office/drawing/2014/main" id="{C23363EE-6C21-A142-868B-021F00F3AC1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50" y="2789238"/>
            <a:ext cx="1862138" cy="1862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F5629D76-973F-9E42-8790-D451DDF6076B}"/>
              </a:ext>
            </a:extLst>
          </p:cNvPr>
          <p:cNvSpPr/>
          <p:nvPr userDrawn="1"/>
        </p:nvSpPr>
        <p:spPr>
          <a:xfrm>
            <a:off x="8210550" y="5891213"/>
            <a:ext cx="920750" cy="944562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7000">
                <a:schemeClr val="bg1">
                  <a:alpha val="35000"/>
                </a:schemeClr>
              </a:gs>
              <a:gs pos="100000">
                <a:schemeClr val="bg1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13" name="Picture 26">
            <a:extLst>
              <a:ext uri="{FF2B5EF4-FFF2-40B4-BE49-F238E27FC236}">
                <a16:creationId xmlns:a16="http://schemas.microsoft.com/office/drawing/2014/main" id="{441F4671-1B92-9D45-AC7F-1386D0DBAD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500" y="5864225"/>
            <a:ext cx="974725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9" descr="TU_Logo_lang_RGB_rot_PPT-1">
            <a:extLst>
              <a:ext uri="{FF2B5EF4-FFF2-40B4-BE49-F238E27FC236}">
                <a16:creationId xmlns:a16="http://schemas.microsoft.com/office/drawing/2014/main" id="{F2479202-7E87-6D4C-9592-22E7F926B779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363" y="110778"/>
            <a:ext cx="1557337" cy="86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8">
            <a:extLst>
              <a:ext uri="{FF2B5EF4-FFF2-40B4-BE49-F238E27FC236}">
                <a16:creationId xmlns:a16="http://schemas.microsoft.com/office/drawing/2014/main" id="{133E16FE-8DA4-4142-9C16-77177EAD5C2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963" y="121568"/>
            <a:ext cx="809625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8">
            <a:extLst>
              <a:ext uri="{FF2B5EF4-FFF2-40B4-BE49-F238E27FC236}">
                <a16:creationId xmlns:a16="http://schemas.microsoft.com/office/drawing/2014/main" id="{93A06263-8F0D-1B49-9DF6-57FB807F869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5475" y="94902"/>
            <a:ext cx="2011363" cy="885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8350" y="200260"/>
            <a:ext cx="7543800" cy="185791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4800" spc="-50"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5038" y="4728943"/>
            <a:ext cx="75438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3AA1CE5-847E-924C-B86C-85B64A553D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06/27/18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BAD01AEC-4AD9-B240-B0E9-D78F752303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83247" y="6459538"/>
            <a:ext cx="4114006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Alexandra Erfort | Bachelor Thesis – Interim Presentation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91C748EB-3D5C-B846-A217-41DAD6CAF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04200" y="6446837"/>
            <a:ext cx="98425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9C1A97-6993-0C46-AAAB-C8949C082DA1}" type="slidenum">
              <a:rPr lang="en-US" altLang="de-DE"/>
              <a:pPr>
                <a:defRPr/>
              </a:pPr>
              <a:t>‹#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34757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6D1DEA-C24A-2341-9B0B-B2DCAD87E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073CCB-296B-4445-B700-CF434C926415}" type="datetimeFigureOut">
              <a:rPr lang="en-US"/>
              <a:pPr>
                <a:defRPr/>
              </a:pPr>
              <a:t>7/19/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FA6EF2-BEAB-2345-A947-521B7DF12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Präsentationstitel Blindtext Lorem ipsum dolores | M. Mustermann | Anlass der Präsent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A167BA-1B28-3F4C-A983-FBD56A175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40E34559-F141-754C-8188-F130EC3B59DD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686564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254AB2D-4F4E-714B-A3D9-2D13205EDED8}"/>
              </a:ext>
            </a:extLst>
          </p:cNvPr>
          <p:cNvSpPr/>
          <p:nvPr/>
        </p:nvSpPr>
        <p:spPr>
          <a:xfrm>
            <a:off x="3175" y="6400800"/>
            <a:ext cx="9140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0CCF8DF-79DA-CF43-8FDD-22C49C5FC36E}"/>
              </a:ext>
            </a:extLst>
          </p:cNvPr>
          <p:cNvSpPr/>
          <p:nvPr/>
        </p:nvSpPr>
        <p:spPr>
          <a:xfrm>
            <a:off x="0" y="6334125"/>
            <a:ext cx="9142413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4779"/>
            <a:ext cx="1971675" cy="5757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4779"/>
            <a:ext cx="5800725" cy="5757420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6BDEC7A1-EE8F-DF47-BD6C-C562AB737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D2ACF2-6569-494C-9017-D5F26E04F595}" type="datetimeFigureOut">
              <a:rPr lang="en-US"/>
              <a:pPr>
                <a:defRPr/>
              </a:pPr>
              <a:t>7/19/18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1737CDC-AC2E-8943-9BAF-C4A9A24504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Präsentationstitel Blindtext Lorem ipsum dolores | M. Mustermann | Anlass der Präsentation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055B5D3-1BED-F64C-BBC1-303E18CB1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DCB1A0B6-0735-484F-BBB3-AB2CAD2355C1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76342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325" y="287339"/>
            <a:ext cx="7543800" cy="837405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2325" y="1412776"/>
            <a:ext cx="7543800" cy="4022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51FE48-8D0B-7045-A315-9A139E9DCC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DF71EE-A8A5-8E42-9A25-4E9F22146604}" type="datetimeFigureOut">
              <a:rPr lang="en-US"/>
              <a:pPr>
                <a:defRPr/>
              </a:pPr>
              <a:t>7/19/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F87242-3F9F-DB47-A7B6-C4166BA00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7D7E1C-37D3-D148-827B-5215DA3F1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20272" y="6459538"/>
            <a:ext cx="98425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03AB34-CF9C-B347-9D90-D4436DA5886A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FAB078C-D99D-6840-9982-99136C83ABD6}"/>
              </a:ext>
            </a:extLst>
          </p:cNvPr>
          <p:cNvSpPr txBox="1">
            <a:spLocks/>
          </p:cNvSpPr>
          <p:nvPr userDrawn="1"/>
        </p:nvSpPr>
        <p:spPr>
          <a:xfrm>
            <a:off x="822325" y="6459538"/>
            <a:ext cx="185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06/27/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02B5AFE-69EB-B549-9A22-AEF577BD5F83}"/>
              </a:ext>
            </a:extLst>
          </p:cNvPr>
          <p:cNvSpPr txBox="1">
            <a:spLocks/>
          </p:cNvSpPr>
          <p:nvPr userDrawn="1"/>
        </p:nvSpPr>
        <p:spPr>
          <a:xfrm>
            <a:off x="2483247" y="6459538"/>
            <a:ext cx="41140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 cap="all" baseline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Alexandra Erfort | Bachelor Thesis – Interim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7043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0CDB81C-5D29-6643-B35D-494FECC31626}"/>
              </a:ext>
            </a:extLst>
          </p:cNvPr>
          <p:cNvSpPr/>
          <p:nvPr/>
        </p:nvSpPr>
        <p:spPr>
          <a:xfrm>
            <a:off x="3175" y="6400800"/>
            <a:ext cx="9140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AD7B26-B4AB-B441-980C-148F6B3E53B4}"/>
              </a:ext>
            </a:extLst>
          </p:cNvPr>
          <p:cNvSpPr/>
          <p:nvPr/>
        </p:nvSpPr>
        <p:spPr>
          <a:xfrm>
            <a:off x="0" y="6334125"/>
            <a:ext cx="9142413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028CE21-652A-934B-9BC4-CF6108665B2D}"/>
              </a:ext>
            </a:extLst>
          </p:cNvPr>
          <p:cNvCxnSpPr/>
          <p:nvPr/>
        </p:nvCxnSpPr>
        <p:spPr>
          <a:xfrm>
            <a:off x="906463" y="4343400"/>
            <a:ext cx="7405687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Ctr="0"/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7CB79090-B676-C54B-9B8E-8C81188FAF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A58EF7-B35E-494F-96B4-22ABE9F261FF}" type="datetimeFigureOut">
              <a:rPr lang="en-US"/>
              <a:pPr>
                <a:defRPr/>
              </a:pPr>
              <a:t>7/19/18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282A941-9EF2-644F-BD6D-B2D6244C1D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097BFAE-D034-7849-82CD-7E7D9C745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B916F5-D41A-5042-B3B1-F19E35F039B9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09170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6"/>
            <a:ext cx="3703320" cy="4023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818FB8A-4972-CD44-B405-39AC786B5C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1DFDBF-FC36-6045-A0FF-5588BD1A13A3}" type="datetimeFigureOut">
              <a:rPr lang="en-US"/>
              <a:pPr>
                <a:defRPr/>
              </a:pPr>
              <a:t>7/19/18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5E5832-7AD9-5B41-8535-931AD3120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A137A9C-6C13-E14C-A5FA-128D011A6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BE6730B9-234D-C548-8BAF-108774FD5115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D1597091-6CE8-2B4F-AE7A-35618BC05849}"/>
              </a:ext>
            </a:extLst>
          </p:cNvPr>
          <p:cNvSpPr txBox="1">
            <a:spLocks/>
          </p:cNvSpPr>
          <p:nvPr userDrawn="1"/>
        </p:nvSpPr>
        <p:spPr>
          <a:xfrm>
            <a:off x="822325" y="6459538"/>
            <a:ext cx="185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06/28/18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8B93DD3-EFEA-BA40-9417-D44BED2EA2EF}"/>
              </a:ext>
            </a:extLst>
          </p:cNvPr>
          <p:cNvSpPr txBox="1">
            <a:spLocks/>
          </p:cNvSpPr>
          <p:nvPr userDrawn="1"/>
        </p:nvSpPr>
        <p:spPr>
          <a:xfrm>
            <a:off x="2483247" y="6459538"/>
            <a:ext cx="41140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 cap="all" baseline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Alexandra Erfort | Bachelor Thesis – Interim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578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2A1E19C9-0BDD-CA48-AAF7-9BC1AFC79F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0F8B8B-7624-6347-9DE4-D00B4BC8B6AF}" type="datetimeFigureOut">
              <a:rPr lang="en-US"/>
              <a:pPr>
                <a:defRPr/>
              </a:pPr>
              <a:t>7/19/18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5728E21-48F1-F545-85E1-80F9C83EA3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D5D50EB-FA54-C74B-BBB3-0CF819BF4E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7BBFE3F6-0713-8946-8B43-77D6B031D82A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B5BC621-ED93-DC4A-BDB5-937BD223BF49}"/>
              </a:ext>
            </a:extLst>
          </p:cNvPr>
          <p:cNvSpPr txBox="1">
            <a:spLocks/>
          </p:cNvSpPr>
          <p:nvPr userDrawn="1"/>
        </p:nvSpPr>
        <p:spPr>
          <a:xfrm>
            <a:off x="822325" y="6459538"/>
            <a:ext cx="185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06/28/18</a:t>
            </a:r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24A5786-6CF4-EB4D-A6DC-6E1370CC1E37}"/>
              </a:ext>
            </a:extLst>
          </p:cNvPr>
          <p:cNvSpPr txBox="1">
            <a:spLocks/>
          </p:cNvSpPr>
          <p:nvPr userDrawn="1"/>
        </p:nvSpPr>
        <p:spPr>
          <a:xfrm>
            <a:off x="2483247" y="6459538"/>
            <a:ext cx="41140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 cap="all" baseline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Alexandra Erfort | Bachelor Thesis – Interim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051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A8305A2-F9C7-6745-9CE6-D8A2D8DB76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A8A8D4-D522-BC42-8D6B-87E4C4B81BE2}" type="datetimeFigureOut">
              <a:rPr lang="en-US"/>
              <a:pPr>
                <a:defRPr/>
              </a:pPr>
              <a:t>7/19/18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7F5FC53-E4E8-1948-AD89-EDB1A75D43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944B831-E797-4249-B549-FBACE570A5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4228DB90-0B3C-5442-B250-A9CF2D2F3EF5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B6D5E98E-7AB9-474E-BC00-D02CAF5BD32C}"/>
              </a:ext>
            </a:extLst>
          </p:cNvPr>
          <p:cNvSpPr txBox="1">
            <a:spLocks/>
          </p:cNvSpPr>
          <p:nvPr userDrawn="1"/>
        </p:nvSpPr>
        <p:spPr>
          <a:xfrm>
            <a:off x="822325" y="6459538"/>
            <a:ext cx="185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06/27/18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ECAABF1-E483-E14C-ABB3-49A106FA20AC}"/>
              </a:ext>
            </a:extLst>
          </p:cNvPr>
          <p:cNvSpPr txBox="1">
            <a:spLocks/>
          </p:cNvSpPr>
          <p:nvPr userDrawn="1"/>
        </p:nvSpPr>
        <p:spPr>
          <a:xfrm>
            <a:off x="2483247" y="6459538"/>
            <a:ext cx="41140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 cap="all" baseline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Alexandra Erfort | Bachelor Thesis – Interim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2473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375266C-C8C6-3A4F-B93D-1C66DC19BF3E}"/>
              </a:ext>
            </a:extLst>
          </p:cNvPr>
          <p:cNvSpPr/>
          <p:nvPr/>
        </p:nvSpPr>
        <p:spPr>
          <a:xfrm>
            <a:off x="3175" y="6400800"/>
            <a:ext cx="9140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766FEC-9E04-1449-9AED-B090C9A33559}"/>
              </a:ext>
            </a:extLst>
          </p:cNvPr>
          <p:cNvSpPr/>
          <p:nvPr/>
        </p:nvSpPr>
        <p:spPr>
          <a:xfrm>
            <a:off x="0" y="6334125"/>
            <a:ext cx="9142413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1ED96C6D-B100-7C4D-9034-E0FEB9E6EC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E7E0C8-27EF-0B49-B783-87E950D83DFA}" type="datetimeFigureOut">
              <a:rPr lang="en-US"/>
              <a:pPr>
                <a:defRPr/>
              </a:pPr>
              <a:t>7/19/18</a:t>
            </a:fld>
            <a:endParaRPr lang="en-US" dirty="0"/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3A378F85-8E35-0243-BE3C-B77E07F3B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de-DE" altLang="de-DE"/>
              <a:t>Präsentationstitel Blindtext Lorem ipsum dolores | M. Mustermann | Anlass der Präsentation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2F4260A5-2DC8-BE4A-9B9C-AFF224F20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857FAF64-F688-DF45-BEC3-110E5171A605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07358FD-5643-5A48-BA42-9CA3C6444AEA}"/>
              </a:ext>
            </a:extLst>
          </p:cNvPr>
          <p:cNvSpPr txBox="1">
            <a:spLocks/>
          </p:cNvSpPr>
          <p:nvPr userDrawn="1"/>
        </p:nvSpPr>
        <p:spPr>
          <a:xfrm>
            <a:off x="822325" y="6459538"/>
            <a:ext cx="185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06/28/18</a:t>
            </a:r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D579694-37C6-AA47-9E69-D51128826D7F}"/>
              </a:ext>
            </a:extLst>
          </p:cNvPr>
          <p:cNvSpPr txBox="1">
            <a:spLocks/>
          </p:cNvSpPr>
          <p:nvPr userDrawn="1"/>
        </p:nvSpPr>
        <p:spPr>
          <a:xfrm>
            <a:off x="2483247" y="6459538"/>
            <a:ext cx="41140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 cap="all" baseline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Alexandra Erfort | Bachelor Thesis – Interim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0417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6AF97D0-4947-D342-96E4-BC9E6A1D01B8}"/>
              </a:ext>
            </a:extLst>
          </p:cNvPr>
          <p:cNvSpPr/>
          <p:nvPr/>
        </p:nvSpPr>
        <p:spPr>
          <a:xfrm>
            <a:off x="0" y="0"/>
            <a:ext cx="303847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C28574C-D5C6-9045-92AD-EC5A0BC21573}"/>
              </a:ext>
            </a:extLst>
          </p:cNvPr>
          <p:cNvSpPr/>
          <p:nvPr/>
        </p:nvSpPr>
        <p:spPr>
          <a:xfrm>
            <a:off x="3030538" y="0"/>
            <a:ext cx="4762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/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237" y="731520"/>
            <a:ext cx="5009393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1F667C5-C7D4-CF44-BC5E-823304A80E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49250" y="6459538"/>
            <a:ext cx="1963738" cy="365125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84AADE97-C661-E541-B3EF-6260E25759C3}" type="datetimeFigureOut">
              <a:rPr lang="en-US"/>
              <a:pPr>
                <a:defRPr/>
              </a:pPr>
              <a:t>7/19/18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8A3210C1-1ED6-3F41-97A2-429CC260D4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0450" y="6459538"/>
            <a:ext cx="348615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altLang="de-DE"/>
              <a:t>Präsentationstitel Blindtext Lorem ipsum dolores | M. Mustermann | Anlass der Präsentation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DB193A23-AE8D-5C43-A5F9-5B00B8CDAD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altLang="de-DE"/>
              <a:t>Seite </a:t>
            </a:r>
            <a:fld id="{57C78262-B863-9543-9729-42E0CE1BFFDA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880951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FA008C2-AB23-BF40-B89C-D86D58AB3DB2}"/>
              </a:ext>
            </a:extLst>
          </p:cNvPr>
          <p:cNvSpPr/>
          <p:nvPr/>
        </p:nvSpPr>
        <p:spPr>
          <a:xfrm>
            <a:off x="0" y="4953000"/>
            <a:ext cx="9142413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05DDBC5-041E-B94B-9FCF-7255DF8FA4AC}"/>
              </a:ext>
            </a:extLst>
          </p:cNvPr>
          <p:cNvSpPr/>
          <p:nvPr/>
        </p:nvSpPr>
        <p:spPr>
          <a:xfrm>
            <a:off x="0" y="4914900"/>
            <a:ext cx="9142413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rtlCol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59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4DBB81B-A7F5-D04C-9ABA-E65051A96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33995C-CA5B-A14D-94E9-5C6890B6D3B3}" type="datetimeFigureOut">
              <a:rPr lang="en-US"/>
              <a:pPr>
                <a:defRPr/>
              </a:pPr>
              <a:t>7/19/18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56E35061-58F7-1446-A1A0-3D28542F0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Präsentationstitel Blindtext Lorem ipsum dolores | M. Mustermann | Anlass der Präsentation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4F35910B-6D4C-D747-BC5A-CC3A666F3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eite </a:t>
            </a:r>
            <a:fld id="{4B91CBC0-36A5-E54D-A00B-8212110492BB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65482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C78DD5-90CC-384A-882D-11C3DE000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325" y="287338"/>
            <a:ext cx="7543800" cy="76517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72B01D86-F0CC-0849-B02D-EAF2F44E4CB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22325" y="1190625"/>
            <a:ext cx="7543800" cy="445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Click to edit Master text styles</a:t>
            </a:r>
          </a:p>
          <a:p>
            <a:pPr lvl="1"/>
            <a:r>
              <a:rPr lang="en-US" altLang="de-DE"/>
              <a:t>Second level</a:t>
            </a:r>
          </a:p>
          <a:p>
            <a:pPr lvl="2"/>
            <a:r>
              <a:rPr lang="en-US" altLang="de-DE"/>
              <a:t>Third level</a:t>
            </a:r>
          </a:p>
          <a:p>
            <a:pPr lvl="3"/>
            <a:r>
              <a:rPr lang="en-US" altLang="de-DE"/>
              <a:t>Fourth level</a:t>
            </a:r>
          </a:p>
          <a:p>
            <a:pPr lvl="4"/>
            <a:r>
              <a:rPr lang="en-US" altLang="de-DE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7F6B44-7C24-354E-A841-757D4EA89E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2325" y="6459538"/>
            <a:ext cx="185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C270CE7-808E-6A45-B4D1-EA7AE68091FA}" type="datetimeFigureOut">
              <a:rPr lang="en-US"/>
              <a:pPr>
                <a:defRPr/>
              </a:pPr>
              <a:t>7/19/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C79784-70E9-9646-9EA9-18C06910DE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5425" y="6459538"/>
            <a:ext cx="36163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altLang="de-DE"/>
              <a:t>Präsentationstitel Blindtext Lorem ipsum dolores | M. Mustermann | Anlass der Präsent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FEDCD4-D808-F240-9247-81965722B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04050" y="6345238"/>
            <a:ext cx="9842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de-DE" altLang="de-DE"/>
              <a:t>Seite </a:t>
            </a:r>
            <a:fld id="{8898144C-7E04-914C-B6D0-B53720188385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B452D74-3E8E-F241-9B10-2B0BBFC1C1F5}"/>
              </a:ext>
            </a:extLst>
          </p:cNvPr>
          <p:cNvCxnSpPr/>
          <p:nvPr/>
        </p:nvCxnSpPr>
        <p:spPr>
          <a:xfrm>
            <a:off x="822325" y="1068388"/>
            <a:ext cx="7475538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2A8133BE-6AA3-4547-BEA4-ACACE358B734}"/>
              </a:ext>
            </a:extLst>
          </p:cNvPr>
          <p:cNvSpPr/>
          <p:nvPr userDrawn="1"/>
        </p:nvSpPr>
        <p:spPr>
          <a:xfrm>
            <a:off x="3175" y="6400800"/>
            <a:ext cx="9140825" cy="4572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6C7F7E-1F7B-E845-BCE4-2A8C470C9F2D}"/>
              </a:ext>
            </a:extLst>
          </p:cNvPr>
          <p:cNvSpPr/>
          <p:nvPr userDrawn="1"/>
        </p:nvSpPr>
        <p:spPr>
          <a:xfrm>
            <a:off x="0" y="6350000"/>
            <a:ext cx="8312150" cy="46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2B591EE-D8C0-A74D-B17C-25B88DED7321}"/>
              </a:ext>
            </a:extLst>
          </p:cNvPr>
          <p:cNvCxnSpPr/>
          <p:nvPr userDrawn="1"/>
        </p:nvCxnSpPr>
        <p:spPr>
          <a:xfrm>
            <a:off x="9104313" y="-26988"/>
            <a:ext cx="0" cy="6423026"/>
          </a:xfrm>
          <a:prstGeom prst="line">
            <a:avLst/>
          </a:prstGeom>
          <a:ln w="762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BDB8723-0FF6-FF4D-A73B-E92452871E6C}"/>
              </a:ext>
            </a:extLst>
          </p:cNvPr>
          <p:cNvCxnSpPr/>
          <p:nvPr userDrawn="1"/>
        </p:nvCxnSpPr>
        <p:spPr>
          <a:xfrm>
            <a:off x="9036050" y="0"/>
            <a:ext cx="0" cy="6118225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E807FC7A-48CE-3344-90C8-621FE8C5526A}"/>
              </a:ext>
            </a:extLst>
          </p:cNvPr>
          <p:cNvSpPr/>
          <p:nvPr userDrawn="1"/>
        </p:nvSpPr>
        <p:spPr>
          <a:xfrm>
            <a:off x="8210550" y="5891213"/>
            <a:ext cx="920750" cy="944562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7000">
                <a:schemeClr val="bg1">
                  <a:alpha val="35000"/>
                </a:schemeClr>
              </a:gs>
              <a:gs pos="100000">
                <a:schemeClr val="bg1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1037" name="Picture 13">
            <a:extLst>
              <a:ext uri="{FF2B5EF4-FFF2-40B4-BE49-F238E27FC236}">
                <a16:creationId xmlns:a16="http://schemas.microsoft.com/office/drawing/2014/main" id="{98F500AF-7629-1D4F-B29C-3CC411BF5E3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500" y="5864225"/>
            <a:ext cx="974725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60" r:id="rId1"/>
    <p:sldLayoutId id="2147484561" r:id="rId2"/>
    <p:sldLayoutId id="2147484562" r:id="rId3"/>
    <p:sldLayoutId id="2147484563" r:id="rId4"/>
    <p:sldLayoutId id="2147484564" r:id="rId5"/>
    <p:sldLayoutId id="2147484565" r:id="rId6"/>
    <p:sldLayoutId id="2147484566" r:id="rId7"/>
    <p:sldLayoutId id="2147484567" r:id="rId8"/>
    <p:sldLayoutId id="2147484568" r:id="rId9"/>
    <p:sldLayoutId id="2147484559" r:id="rId10"/>
    <p:sldLayoutId id="2147484569" r:id="rId11"/>
  </p:sldLayoutIdLst>
  <p:hf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 kern="1200" spc="-50">
          <a:solidFill>
            <a:srgbClr val="40404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rgbClr val="404040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rgbClr val="404040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rgbClr val="404040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rgbClr val="404040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anose="020F0302020204030204" pitchFamily="34" charset="0"/>
        </a:defRPr>
      </a:lvl9pPr>
    </p:titleStyle>
    <p:bodyStyle>
      <a:lvl1pPr marL="90488" indent="-90488" algn="l" rtl="0" eaLnBrk="0" fontAlgn="base" hangingPunct="0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rgbClr val="404040"/>
          </a:solidFill>
          <a:latin typeface="+mn-lt"/>
          <a:ea typeface="+mn-ea"/>
          <a:cs typeface="+mn-cs"/>
        </a:defRPr>
      </a:lvl1pPr>
      <a:lvl2pPr marL="382588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kern="1200">
          <a:solidFill>
            <a:srgbClr val="404040"/>
          </a:solidFill>
          <a:latin typeface="+mn-lt"/>
          <a:ea typeface="+mn-ea"/>
          <a:cs typeface="+mn-cs"/>
        </a:defRPr>
      </a:lvl2pPr>
      <a:lvl3pPr marL="566738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+mn-lt"/>
          <a:ea typeface="+mn-ea"/>
          <a:cs typeface="+mn-cs"/>
        </a:defRPr>
      </a:lvl3pPr>
      <a:lvl4pPr marL="749300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+mn-lt"/>
          <a:ea typeface="+mn-ea"/>
          <a:cs typeface="+mn-cs"/>
        </a:defRPr>
      </a:lvl4pPr>
      <a:lvl5pPr marL="931863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CBFC09-190B-0745-8579-B9ED12A34A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7088" y="908050"/>
            <a:ext cx="6840537" cy="1716088"/>
          </a:xfrm>
        </p:spPr>
        <p:txBody>
          <a:bodyPr/>
          <a:lstStyle/>
          <a:p>
            <a:pPr>
              <a:defRPr/>
            </a:pPr>
            <a:r>
              <a:rPr lang="en-US" sz="28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Biogas Potential of the Inocula Sewage Sludge, Cow Manure, and Fermentation Residues </a:t>
            </a:r>
            <a:br>
              <a:rPr lang="en-US" sz="28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– Investigation of Varying Pre-Treatment and Process Options</a:t>
            </a:r>
            <a:endParaRPr lang="en-US" sz="2800" dirty="0"/>
          </a:p>
        </p:txBody>
      </p:sp>
      <p:sp>
        <p:nvSpPr>
          <p:cNvPr id="10246" name="Rectangle 3">
            <a:extLst>
              <a:ext uri="{FF2B5EF4-FFF2-40B4-BE49-F238E27FC236}">
                <a16:creationId xmlns:a16="http://schemas.microsoft.com/office/drawing/2014/main" id="{4C0FF961-F275-714D-A1F6-1DEE6FCF6106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539750" y="4797425"/>
            <a:ext cx="7770813" cy="1344613"/>
          </a:xfrm>
        </p:spPr>
        <p:txBody>
          <a:bodyPr/>
          <a:lstStyle/>
          <a:p>
            <a:pPr eaLnBrk="1" hangingPunct="1">
              <a:spcAft>
                <a:spcPct val="0"/>
              </a:spcAft>
              <a:defRPr/>
            </a:pPr>
            <a:r>
              <a:rPr lang="en-US" sz="1100" dirty="0">
                <a:solidFill>
                  <a:schemeClr val="bg2">
                    <a:lumMod val="10000"/>
                  </a:schemeClr>
                </a:solidFill>
              </a:rPr>
              <a:t>Interim Presentation</a:t>
            </a:r>
          </a:p>
          <a:p>
            <a:pPr>
              <a:defRPr/>
            </a:pPr>
            <a:r>
              <a:rPr lang="en-US" sz="1100" dirty="0">
                <a:solidFill>
                  <a:schemeClr val="bg2">
                    <a:lumMod val="10000"/>
                  </a:schemeClr>
                </a:solidFill>
              </a:rPr>
              <a:t>Alexandra Erfort</a:t>
            </a:r>
          </a:p>
          <a:p>
            <a:pPr>
              <a:defRPr/>
            </a:pPr>
            <a:r>
              <a:rPr lang="en-US" sz="1100" dirty="0">
                <a:solidFill>
                  <a:schemeClr val="bg2">
                    <a:lumMod val="10000"/>
                  </a:schemeClr>
                </a:solidFill>
              </a:rPr>
              <a:t>Circular Economy and Recycling technology</a:t>
            </a:r>
          </a:p>
          <a:p>
            <a:pPr>
              <a:defRPr/>
            </a:pPr>
            <a:r>
              <a:rPr lang="en-US" sz="1100" dirty="0">
                <a:solidFill>
                  <a:schemeClr val="bg2">
                    <a:lumMod val="10000"/>
                  </a:schemeClr>
                </a:solidFill>
              </a:rPr>
              <a:t>27.06.2018</a:t>
            </a:r>
          </a:p>
          <a:p>
            <a:pPr eaLnBrk="1" hangingPunct="1">
              <a:spcAft>
                <a:spcPct val="0"/>
              </a:spcAft>
              <a:defRPr/>
            </a:pPr>
            <a:endParaRPr lang="en-US" altLang="de-DE" sz="1100" cap="none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78"/>
    </mc:Choice>
    <mc:Fallback xmlns="">
      <p:transition spd="slow" advTm="5278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C55ED-96E7-3241-AB7D-701BCFA9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Fresh Sewage Slud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D2F7E-C49F-F74D-A92A-B819E2C73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B046B7-9D79-9D4F-B449-955B319E7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10</a:t>
            </a:fld>
            <a:endParaRPr lang="de-DE" altLang="de-DE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0000000-0008-0000-0400-000007CC01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8025552"/>
              </p:ext>
            </p:extLst>
          </p:nvPr>
        </p:nvGraphicFramePr>
        <p:xfrm>
          <a:off x="1186581" y="1417857"/>
          <a:ext cx="6774011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C638C554-1A70-3142-8324-30EEC799F6CB}"/>
              </a:ext>
            </a:extLst>
          </p:cNvPr>
          <p:cNvSpPr txBox="1"/>
          <p:nvPr/>
        </p:nvSpPr>
        <p:spPr>
          <a:xfrm>
            <a:off x="1208806" y="5619356"/>
            <a:ext cx="6751786" cy="646331"/>
          </a:xfrm>
          <a:prstGeom prst="rect">
            <a:avLst/>
          </a:prstGeom>
          <a:solidFill>
            <a:srgbClr val="27401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Hypotheses 1. Logistic Growth</a:t>
            </a:r>
          </a:p>
          <a:p>
            <a:pPr algn="ctr"/>
            <a:r>
              <a:rPr lang="en-US" sz="18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E29E0E-4E82-F24E-8D1E-A3AA7430C737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4700"/>
                    </a14:imgEffect>
                    <a14:imgEffect>
                      <a14:saturation sat="3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103496" y="5703640"/>
            <a:ext cx="492840" cy="49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38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0661"/>
    </mc:Choice>
    <mc:Fallback xmlns="">
      <p:transition spd="slow" advTm="9066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C55ED-96E7-3241-AB7D-701BCFA9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Stored Sewage Slud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D2F7E-C49F-F74D-A92A-B819E2C73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B046B7-9D79-9D4F-B449-955B319E7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11</a:t>
            </a:fld>
            <a:endParaRPr lang="de-DE" altLang="de-DE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0000000-0008-0000-0F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7949293"/>
              </p:ext>
            </p:extLst>
          </p:nvPr>
        </p:nvGraphicFramePr>
        <p:xfrm>
          <a:off x="1186581" y="1417857"/>
          <a:ext cx="6774011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440C3C88-A69A-6F4D-84A5-D43F65BD415F}"/>
              </a:ext>
            </a:extLst>
          </p:cNvPr>
          <p:cNvSpPr txBox="1"/>
          <p:nvPr/>
        </p:nvSpPr>
        <p:spPr>
          <a:xfrm>
            <a:off x="1208806" y="5619356"/>
            <a:ext cx="6751786" cy="646331"/>
          </a:xfrm>
          <a:prstGeom prst="rect">
            <a:avLst/>
          </a:prstGeom>
          <a:solidFill>
            <a:srgbClr val="27401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Hypotheses 1. Logistic Growth</a:t>
            </a:r>
          </a:p>
          <a:p>
            <a:pPr algn="ctr"/>
            <a:r>
              <a:rPr lang="en-US" sz="18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860B74-1862-FC4B-B8CD-3A08ECCDD330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4700"/>
                    </a14:imgEffect>
                    <a14:imgEffect>
                      <a14:saturation sat="3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103496" y="5703640"/>
            <a:ext cx="492840" cy="49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74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549"/>
    </mc:Choice>
    <mc:Fallback xmlns="">
      <p:transition spd="slow" advTm="60549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C55ED-96E7-3241-AB7D-701BCFA9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Fresh Vs. Stored Sewage Slud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D2F7E-C49F-F74D-A92A-B819E2C73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B046B7-9D79-9D4F-B449-955B319E7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12</a:t>
            </a:fld>
            <a:endParaRPr lang="de-DE" altLang="de-DE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E86F915-A3B7-9745-A8D9-4A9969E885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0337352"/>
              </p:ext>
            </p:extLst>
          </p:nvPr>
        </p:nvGraphicFramePr>
        <p:xfrm>
          <a:off x="1186581" y="1417857"/>
          <a:ext cx="6774011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B446F7D9-6626-C643-8EA4-024E819A3964}"/>
              </a:ext>
            </a:extLst>
          </p:cNvPr>
          <p:cNvSpPr txBox="1"/>
          <p:nvPr/>
        </p:nvSpPr>
        <p:spPr>
          <a:xfrm>
            <a:off x="1208806" y="5619356"/>
            <a:ext cx="6751786" cy="646331"/>
          </a:xfrm>
          <a:prstGeom prst="rect">
            <a:avLst/>
          </a:prstGeom>
          <a:solidFill>
            <a:srgbClr val="27401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Hypotheses 2. Minimal Effect of Storage</a:t>
            </a:r>
          </a:p>
          <a:p>
            <a:pPr algn="ctr"/>
            <a:r>
              <a:rPr lang="en-US" sz="1800" dirty="0">
                <a:solidFill>
                  <a:schemeClr val="bg1"/>
                </a:solidFill>
              </a:rPr>
              <a:t> (Fresh sludge has about twice as much potential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559E1A4-DFB4-4A4F-90FE-49DE6A2051BA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4700"/>
                    </a14:imgEffect>
                    <a14:imgEffect>
                      <a14:saturation sat="3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103496" y="5703640"/>
            <a:ext cx="492840" cy="49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158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026"/>
    </mc:Choice>
    <mc:Fallback xmlns="">
      <p:transition spd="slow" advTm="36026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C55ED-96E7-3241-AB7D-701BCFA9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Unscreened Cow Man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D2F7E-C49F-F74D-A92A-B819E2C73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B046B7-9D79-9D4F-B449-955B319E7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13</a:t>
            </a:fld>
            <a:endParaRPr lang="de-DE" altLang="de-DE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50D3CCE-2FF4-C24E-AD72-C279348C554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1580654"/>
              </p:ext>
            </p:extLst>
          </p:nvPr>
        </p:nvGraphicFramePr>
        <p:xfrm>
          <a:off x="1186581" y="1417856"/>
          <a:ext cx="6774011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C098D7DF-9FA8-D741-B4F3-394070BB3D89}"/>
              </a:ext>
            </a:extLst>
          </p:cNvPr>
          <p:cNvSpPr txBox="1"/>
          <p:nvPr/>
        </p:nvSpPr>
        <p:spPr>
          <a:xfrm>
            <a:off x="1208806" y="5619356"/>
            <a:ext cx="6751786" cy="646331"/>
          </a:xfrm>
          <a:prstGeom prst="rect">
            <a:avLst/>
          </a:prstGeom>
          <a:solidFill>
            <a:srgbClr val="27401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Hypotheses 1. Logistic Growth</a:t>
            </a:r>
          </a:p>
          <a:p>
            <a:pPr algn="ctr"/>
            <a:r>
              <a:rPr lang="en-US" sz="1800" dirty="0">
                <a:solidFill>
                  <a:schemeClr val="bg1"/>
                </a:solidFill>
              </a:rPr>
              <a:t> (Experiment 7 excluded from evaluation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A77E389-4E60-824F-92F5-4323FE50ED9A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4700"/>
                    </a14:imgEffect>
                    <a14:imgEffect>
                      <a14:saturation sat="3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103496" y="5703640"/>
            <a:ext cx="492840" cy="49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32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3608"/>
    </mc:Choice>
    <mc:Fallback xmlns="">
      <p:transition spd="slow" advTm="53608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EC9D3A0-3680-704B-B559-4D340D36B2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7041024"/>
              </p:ext>
            </p:extLst>
          </p:nvPr>
        </p:nvGraphicFramePr>
        <p:xfrm>
          <a:off x="1186581" y="1417855"/>
          <a:ext cx="6774011" cy="40227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1C55ED-96E7-3241-AB7D-701BCFA9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Screened Cow Man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D2F7E-C49F-F74D-A92A-B819E2C73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B046B7-9D79-9D4F-B449-955B319E7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14</a:t>
            </a:fld>
            <a:endParaRPr lang="de-DE" alt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0A35DC-6E04-024B-8D97-CB48FDA873BE}"/>
              </a:ext>
            </a:extLst>
          </p:cNvPr>
          <p:cNvSpPr txBox="1"/>
          <p:nvPr/>
        </p:nvSpPr>
        <p:spPr>
          <a:xfrm>
            <a:off x="1208806" y="5619356"/>
            <a:ext cx="6751786" cy="646331"/>
          </a:xfrm>
          <a:prstGeom prst="rect">
            <a:avLst/>
          </a:prstGeom>
          <a:solidFill>
            <a:srgbClr val="27401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Hypotheses 1. Logistic Growth</a:t>
            </a:r>
          </a:p>
          <a:p>
            <a:pPr algn="ctr"/>
            <a:r>
              <a:rPr lang="en-US" sz="1800" dirty="0">
                <a:solidFill>
                  <a:schemeClr val="bg1"/>
                </a:solidFill>
              </a:rPr>
              <a:t> (Near-linear growth even after 28 days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AF7FA6D-577E-904C-8CD0-87DEB25CB205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4700"/>
                    </a14:imgEffect>
                    <a14:imgEffect>
                      <a14:saturation sat="3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103496" y="5703640"/>
            <a:ext cx="492840" cy="49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16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3522"/>
    </mc:Choice>
    <mc:Fallback xmlns="">
      <p:transition spd="slow" advTm="73522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AD19A7A-696C-954A-B277-2D2325C28D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6464886"/>
              </p:ext>
            </p:extLst>
          </p:nvPr>
        </p:nvGraphicFramePr>
        <p:xfrm>
          <a:off x="1186582" y="1417857"/>
          <a:ext cx="6751786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1C55ED-96E7-3241-AB7D-701BCFA9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Unscreened Vs. Screened Cow Man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D2F7E-C49F-F74D-A92A-B819E2C73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B046B7-9D79-9D4F-B449-955B319E7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15</a:t>
            </a:fld>
            <a:endParaRPr lang="de-DE" alt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D6EFE1-B9A9-0B44-8E9A-E5D02A8F5BAB}"/>
              </a:ext>
            </a:extLst>
          </p:cNvPr>
          <p:cNvSpPr txBox="1"/>
          <p:nvPr/>
        </p:nvSpPr>
        <p:spPr>
          <a:xfrm>
            <a:off x="1208806" y="5619356"/>
            <a:ext cx="6751786" cy="646331"/>
          </a:xfrm>
          <a:prstGeom prst="rect">
            <a:avLst/>
          </a:prstGeom>
          <a:solidFill>
            <a:srgbClr val="27401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Hypotheses 3. Screening Increases Gas Yield </a:t>
            </a:r>
          </a:p>
          <a:p>
            <a:pPr algn="ctr"/>
            <a:r>
              <a:rPr lang="en-US" sz="18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5A014E7-7F56-9A42-BD09-582C20B5A5EF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4700"/>
                    </a14:imgEffect>
                    <a14:imgEffect>
                      <a14:saturation sat="3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496" y="5703640"/>
            <a:ext cx="492840" cy="49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544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7672"/>
    </mc:Choice>
    <mc:Fallback xmlns="">
      <p:transition spd="slow" advTm="27672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0E5DD0D-FC9F-5F41-A4FC-11C914DCE7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4571846"/>
              </p:ext>
            </p:extLst>
          </p:nvPr>
        </p:nvGraphicFramePr>
        <p:xfrm>
          <a:off x="1186581" y="1417855"/>
          <a:ext cx="6774011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1C55ED-96E7-3241-AB7D-701BCFA9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Stirred Fermentation Residu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D2F7E-C49F-F74D-A92A-B819E2C73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B046B7-9D79-9D4F-B449-955B319E7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16</a:t>
            </a:fld>
            <a:endParaRPr lang="de-DE" altLang="de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E683C4-CFA6-394C-95B8-FF69C2916638}"/>
              </a:ext>
            </a:extLst>
          </p:cNvPr>
          <p:cNvSpPr txBox="1"/>
          <p:nvPr/>
        </p:nvSpPr>
        <p:spPr>
          <a:xfrm>
            <a:off x="1208806" y="5619356"/>
            <a:ext cx="6751786" cy="646331"/>
          </a:xfrm>
          <a:prstGeom prst="rect">
            <a:avLst/>
          </a:prstGeom>
          <a:solidFill>
            <a:srgbClr val="27401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Hypotheses 1. Logistic Growth</a:t>
            </a:r>
          </a:p>
          <a:p>
            <a:pPr algn="ctr"/>
            <a:r>
              <a:rPr lang="en-US" sz="18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9B105D-9C10-A84A-8873-A1C8EEB5ED2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4700"/>
                    </a14:imgEffect>
                    <a14:imgEffect>
                      <a14:saturation sat="3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103496" y="5703640"/>
            <a:ext cx="492840" cy="49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933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02"/>
    </mc:Choice>
    <mc:Fallback xmlns="">
      <p:transition spd="slow" advTm="702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311C690-5936-BA4D-9379-3960245D30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259679"/>
              </p:ext>
            </p:extLst>
          </p:nvPr>
        </p:nvGraphicFramePr>
        <p:xfrm>
          <a:off x="1186581" y="1417855"/>
          <a:ext cx="6774011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1C55ED-96E7-3241-AB7D-701BCFA9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Unstirred Fermentation Residu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D2F7E-C49F-F74D-A92A-B819E2C73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B046B7-9D79-9D4F-B449-955B319E7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17</a:t>
            </a:fld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65839C-689C-B646-AB50-2A852CC866A1}"/>
              </a:ext>
            </a:extLst>
          </p:cNvPr>
          <p:cNvSpPr txBox="1"/>
          <p:nvPr/>
        </p:nvSpPr>
        <p:spPr>
          <a:xfrm>
            <a:off x="1208806" y="5733695"/>
            <a:ext cx="6751786" cy="369332"/>
          </a:xfrm>
          <a:prstGeom prst="rect">
            <a:avLst/>
          </a:prstGeom>
          <a:solidFill>
            <a:srgbClr val="27401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Termination rate higher than for stirred fermentation residues</a:t>
            </a:r>
          </a:p>
        </p:txBody>
      </p:sp>
    </p:spTree>
    <p:extLst>
      <p:ext uri="{BB962C8B-B14F-4D97-AF65-F5344CB8AC3E}">
        <p14:creationId xmlns:p14="http://schemas.microsoft.com/office/powerpoint/2010/main" val="138715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159"/>
    </mc:Choice>
    <mc:Fallback xmlns="">
      <p:transition spd="slow" advTm="9159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5D3E9DA-CBF2-1C48-892D-92EEB97124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647644"/>
              </p:ext>
            </p:extLst>
          </p:nvPr>
        </p:nvGraphicFramePr>
        <p:xfrm>
          <a:off x="1196975" y="1417854"/>
          <a:ext cx="6763617" cy="40227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1C55ED-96E7-3241-AB7D-701BCFA9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Stirred Vs. Unstirred Fermentation Residu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D2F7E-C49F-F74D-A92A-B819E2C73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B046B7-9D79-9D4F-B449-955B319E7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18</a:t>
            </a:fld>
            <a:endParaRPr lang="de-DE" alt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78EE80-3210-3F43-87E4-C4CA13DD790C}"/>
              </a:ext>
            </a:extLst>
          </p:cNvPr>
          <p:cNvSpPr txBox="1"/>
          <p:nvPr/>
        </p:nvSpPr>
        <p:spPr>
          <a:xfrm>
            <a:off x="1208806" y="5619356"/>
            <a:ext cx="6751786" cy="646331"/>
          </a:xfrm>
          <a:prstGeom prst="rect">
            <a:avLst/>
          </a:prstGeom>
          <a:solidFill>
            <a:srgbClr val="27401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Hypotheses 4. Minimal Effect of Stirring</a:t>
            </a:r>
          </a:p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B838063-0DBA-E846-9D1B-C2D07DF3BDA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4700"/>
                    </a14:imgEffect>
                    <a14:imgEffect>
                      <a14:saturation sat="3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496" y="5703640"/>
            <a:ext cx="492840" cy="49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774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4962"/>
    </mc:Choice>
    <mc:Fallback xmlns="">
      <p:transition spd="slow" advTm="64962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12AED7-6CB2-EE4F-A719-CE756B4AD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Hypotheses Confirmed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485D8F-0595-D94D-8A81-BE93F35DB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2200" b="1" dirty="0"/>
              <a:t>Logistic Growth </a:t>
            </a:r>
          </a:p>
          <a:p>
            <a:pPr marL="0" lvl="0" indent="0">
              <a:lnSpc>
                <a:spcPct val="100000"/>
              </a:lnSpc>
              <a:buNone/>
            </a:pPr>
            <a:endParaRPr lang="en-US" sz="2200" dirty="0"/>
          </a:p>
          <a:p>
            <a:pPr marL="457200" lvl="0" indent="-457200">
              <a:lnSpc>
                <a:spcPct val="100000"/>
              </a:lnSpc>
              <a:buFont typeface="+mj-lt"/>
              <a:buAutoNum type="arabicPeriod" startAt="2"/>
            </a:pPr>
            <a:r>
              <a:rPr lang="en-US" sz="2200" b="1" dirty="0"/>
              <a:t>Minimal Effect of Storage</a:t>
            </a:r>
            <a:r>
              <a:rPr lang="en-US" sz="2200" dirty="0"/>
              <a:t> </a:t>
            </a:r>
          </a:p>
          <a:p>
            <a:pPr marL="0" lvl="0" indent="0">
              <a:lnSpc>
                <a:spcPct val="100000"/>
              </a:lnSpc>
              <a:buNone/>
            </a:pPr>
            <a:endParaRPr lang="en-US" sz="2200" dirty="0"/>
          </a:p>
          <a:p>
            <a:pPr marL="457200" lvl="0" indent="-457200">
              <a:lnSpc>
                <a:spcPct val="100000"/>
              </a:lnSpc>
              <a:buFont typeface="+mj-lt"/>
              <a:buAutoNum type="arabicPeriod" startAt="3"/>
            </a:pPr>
            <a:r>
              <a:rPr lang="en-US" sz="2200" b="1" dirty="0"/>
              <a:t>Screening Increases Gas Yield</a:t>
            </a:r>
          </a:p>
          <a:p>
            <a:pPr marL="0" lvl="0" indent="0">
              <a:lnSpc>
                <a:spcPct val="100000"/>
              </a:lnSpc>
              <a:buNone/>
            </a:pPr>
            <a:endParaRPr lang="en-US" sz="2200" b="1" dirty="0"/>
          </a:p>
          <a:p>
            <a:pPr marL="457200" lvl="0" indent="-457200">
              <a:lnSpc>
                <a:spcPct val="100000"/>
              </a:lnSpc>
              <a:buFont typeface="+mj-lt"/>
              <a:buAutoNum type="arabicPeriod" startAt="4"/>
            </a:pPr>
            <a:r>
              <a:rPr lang="en-US" sz="2200" b="1" dirty="0"/>
              <a:t>Little Effect of Not-Stirring</a:t>
            </a:r>
            <a:endParaRPr lang="en-US" sz="2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3E0D36-2E55-0D43-A1E6-918C8D37B5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B985DE-6B79-DE4A-9A01-7D0B313C9D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19</a:t>
            </a:fld>
            <a:endParaRPr lang="de-DE" altLang="de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427D18-6C42-7548-A865-3D9615137B2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932040" y="1539692"/>
            <a:ext cx="809188" cy="8091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A7FF55-C833-9C40-94BB-1752502584C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32040" y="2619811"/>
            <a:ext cx="809188" cy="8091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2187A1C-5795-DB4A-AF09-E41FEBA0DE43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040" y="3645024"/>
            <a:ext cx="809188" cy="8091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9F7A62C-EA04-AD4F-B0F9-C85D4F02451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040" y="4653136"/>
            <a:ext cx="809188" cy="809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01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561"/>
    </mc:Choice>
    <mc:Fallback xmlns="">
      <p:transition spd="slow" advTm="1956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76E24F-1088-DD45-80F6-6C3C40AD5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325" y="287338"/>
            <a:ext cx="7543800" cy="838200"/>
          </a:xfrm>
        </p:spPr>
        <p:txBody>
          <a:bodyPr/>
          <a:lstStyle/>
          <a:p>
            <a:pPr>
              <a:defRPr/>
            </a:pPr>
            <a:r>
              <a:rPr lang="de-DE" dirty="0">
                <a:solidFill>
                  <a:schemeClr val="bg2">
                    <a:lumMod val="10000"/>
                  </a:schemeClr>
                </a:solidFill>
              </a:rPr>
              <a:t>Outline</a:t>
            </a:r>
          </a:p>
        </p:txBody>
      </p:sp>
      <p:sp>
        <p:nvSpPr>
          <p:cNvPr id="14339" name="Inhaltsplatzhalter 2">
            <a:extLst>
              <a:ext uri="{FF2B5EF4-FFF2-40B4-BE49-F238E27FC236}">
                <a16:creationId xmlns:a16="http://schemas.microsoft.com/office/drawing/2014/main" id="{301C21FD-6804-9644-8537-578C42F164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6613" y="1844675"/>
            <a:ext cx="7543800" cy="4022725"/>
          </a:xfrm>
        </p:spPr>
        <p:txBody>
          <a:bodyPr/>
          <a:lstStyle/>
          <a:p>
            <a:pPr marL="0" indent="0">
              <a:buFont typeface="Calibri" panose="020F0502020204030204" pitchFamily="34" charset="0"/>
              <a:buNone/>
            </a:pPr>
            <a:r>
              <a:rPr lang="en-US" altLang="en-US" sz="2400" dirty="0">
                <a:solidFill>
                  <a:schemeClr val="bg2">
                    <a:lumMod val="10000"/>
                  </a:schemeClr>
                </a:solidFill>
              </a:rPr>
              <a:t>Introduction</a:t>
            </a:r>
          </a:p>
          <a:p>
            <a:pPr marL="0" indent="0">
              <a:buFont typeface="Calibri" panose="020F0502020204030204" pitchFamily="34" charset="0"/>
              <a:buNone/>
            </a:pPr>
            <a:r>
              <a:rPr lang="en-US" altLang="en-US" sz="2400" dirty="0">
                <a:solidFill>
                  <a:schemeClr val="bg2">
                    <a:lumMod val="10000"/>
                  </a:schemeClr>
                </a:solidFill>
              </a:rPr>
              <a:t>Objectives</a:t>
            </a:r>
          </a:p>
          <a:p>
            <a:pPr marL="0" indent="0">
              <a:buFont typeface="Calibri" panose="020F0502020204030204" pitchFamily="34" charset="0"/>
              <a:buNone/>
            </a:pPr>
            <a:r>
              <a:rPr lang="en-US" altLang="en-US" sz="2400" dirty="0">
                <a:solidFill>
                  <a:schemeClr val="bg2">
                    <a:lumMod val="10000"/>
                  </a:schemeClr>
                </a:solidFill>
              </a:rPr>
              <a:t>Hypotheses</a:t>
            </a:r>
          </a:p>
          <a:p>
            <a:pPr marL="0" indent="0">
              <a:buFont typeface="Calibri" panose="020F0502020204030204" pitchFamily="34" charset="0"/>
              <a:buNone/>
            </a:pPr>
            <a:r>
              <a:rPr lang="en-US" altLang="en-US" sz="2400" dirty="0">
                <a:solidFill>
                  <a:schemeClr val="bg2">
                    <a:lumMod val="10000"/>
                  </a:schemeClr>
                </a:solidFill>
              </a:rPr>
              <a:t>Materials and Methods</a:t>
            </a:r>
          </a:p>
          <a:p>
            <a:pPr marL="0" indent="0">
              <a:buFont typeface="Calibri" panose="020F0502020204030204" pitchFamily="34" charset="0"/>
              <a:buNone/>
            </a:pPr>
            <a:r>
              <a:rPr lang="en-US" altLang="en-US" sz="2400" dirty="0">
                <a:solidFill>
                  <a:schemeClr val="bg2">
                    <a:lumMod val="10000"/>
                  </a:schemeClr>
                </a:solidFill>
              </a:rPr>
              <a:t>Results</a:t>
            </a:r>
          </a:p>
          <a:p>
            <a:pPr marL="0" indent="0">
              <a:buFont typeface="Calibri" panose="020F0502020204030204" pitchFamily="34" charset="0"/>
              <a:buNone/>
            </a:pPr>
            <a:r>
              <a:rPr lang="en-US" altLang="en-US" sz="2400" dirty="0">
                <a:solidFill>
                  <a:schemeClr val="bg2">
                    <a:lumMod val="10000"/>
                  </a:schemeClr>
                </a:solidFill>
              </a:rPr>
              <a:t>Time Schedu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5A7237-3E74-2948-B99A-CF96CB06D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14341" name="Foliennummernplatzhalter 4">
            <a:extLst>
              <a:ext uri="{FF2B5EF4-FFF2-40B4-BE49-F238E27FC236}">
                <a16:creationId xmlns:a16="http://schemas.microsoft.com/office/drawing/2014/main" id="{E8CCB68B-B074-804D-AC88-2EBA239589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1A8B08E-0523-F245-BD68-DC8D87492B29}" type="slidenum">
              <a:rPr lang="de-DE" altLang="de-DE" sz="1000" smtClean="0">
                <a:solidFill>
                  <a:srgbClr val="FFFFFF"/>
                </a:solidFill>
              </a:rPr>
              <a:pPr/>
              <a:t>2</a:t>
            </a:fld>
            <a:endParaRPr lang="de-DE" altLang="de-DE" sz="100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50"/>
    </mc:Choice>
    <mc:Fallback xmlns="">
      <p:transition spd="slow" advTm="105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D0453-4BF8-A043-A5AB-45C539F9E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NL/kg </a:t>
            </a:r>
            <a:r>
              <a:rPr lang="en-US" dirty="0" err="1">
                <a:solidFill>
                  <a:schemeClr val="bg2">
                    <a:lumMod val="10000"/>
                  </a:schemeClr>
                </a:solidFill>
              </a:rPr>
              <a:t>oTS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5DCCB2-0564-8F4B-8C85-D57163E35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CA5D04-7187-904C-B88D-A544CAC368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20</a:t>
            </a:fld>
            <a:endParaRPr lang="de-DE" altLang="de-DE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FC42B3F3-10E5-934D-B226-B4FD9F42E9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5869789"/>
              </p:ext>
            </p:extLst>
          </p:nvPr>
        </p:nvGraphicFramePr>
        <p:xfrm>
          <a:off x="825029" y="1124744"/>
          <a:ext cx="7543800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923328FB-48FB-0342-8C1F-4B5B9A0692ED}"/>
              </a:ext>
            </a:extLst>
          </p:cNvPr>
          <p:cNvSpPr/>
          <p:nvPr/>
        </p:nvSpPr>
        <p:spPr>
          <a:xfrm>
            <a:off x="5318697" y="2079963"/>
            <a:ext cx="177200" cy="2776508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1EBBF3-213F-A54F-88BD-A4628DF41BE7}"/>
              </a:ext>
            </a:extLst>
          </p:cNvPr>
          <p:cNvSpPr/>
          <p:nvPr/>
        </p:nvSpPr>
        <p:spPr>
          <a:xfrm>
            <a:off x="5574613" y="2299173"/>
            <a:ext cx="169914" cy="2084709"/>
          </a:xfrm>
          <a:prstGeom prst="rect">
            <a:avLst/>
          </a:prstGeom>
          <a:pattFill prst="wdUpDiag">
            <a:fgClr>
              <a:srgbClr val="FFC000"/>
            </a:fgClr>
            <a:bgClr>
              <a:schemeClr val="bg1"/>
            </a:bgClr>
          </a:patt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5B0FC2-1897-344A-A7AC-5A683CC78B0D}"/>
              </a:ext>
            </a:extLst>
          </p:cNvPr>
          <p:cNvSpPr/>
          <p:nvPr/>
        </p:nvSpPr>
        <p:spPr>
          <a:xfrm>
            <a:off x="5070088" y="1692221"/>
            <a:ext cx="177200" cy="2740877"/>
          </a:xfrm>
          <a:prstGeom prst="rect">
            <a:avLst/>
          </a:prstGeom>
          <a:pattFill prst="wdUpDiag">
            <a:fgClr>
              <a:srgbClr val="508040"/>
            </a:fgClr>
            <a:bgClr>
              <a:schemeClr val="bg1"/>
            </a:bgClr>
          </a:pattFill>
          <a:ln>
            <a:solidFill>
              <a:srgbClr val="508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E141B43-CB93-524C-8179-4C28A0E9B9F6}"/>
              </a:ext>
            </a:extLst>
          </p:cNvPr>
          <p:cNvSpPr/>
          <p:nvPr/>
        </p:nvSpPr>
        <p:spPr>
          <a:xfrm>
            <a:off x="6196192" y="4675518"/>
            <a:ext cx="177200" cy="481674"/>
          </a:xfrm>
          <a:prstGeom prst="rect">
            <a:avLst/>
          </a:prstGeom>
          <a:pattFill prst="wdUpDiag">
            <a:fgClr>
              <a:srgbClr val="508040"/>
            </a:fgClr>
            <a:bgClr>
              <a:schemeClr val="bg1"/>
            </a:bgClr>
          </a:pattFill>
          <a:ln>
            <a:solidFill>
              <a:srgbClr val="508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D128BB8-F2F5-F24B-A9A0-82FE4468A10B}"/>
              </a:ext>
            </a:extLst>
          </p:cNvPr>
          <p:cNvSpPr/>
          <p:nvPr/>
        </p:nvSpPr>
        <p:spPr>
          <a:xfrm>
            <a:off x="6444253" y="4639604"/>
            <a:ext cx="177200" cy="461484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1A9CEE3-4120-E648-8E32-6B0EE36B9153}"/>
              </a:ext>
            </a:extLst>
          </p:cNvPr>
          <p:cNvSpPr/>
          <p:nvPr/>
        </p:nvSpPr>
        <p:spPr>
          <a:xfrm>
            <a:off x="6702050" y="4575377"/>
            <a:ext cx="169914" cy="459720"/>
          </a:xfrm>
          <a:prstGeom prst="rect">
            <a:avLst/>
          </a:prstGeom>
          <a:pattFill prst="wdUpDiag">
            <a:fgClr>
              <a:srgbClr val="FFC000"/>
            </a:fgClr>
            <a:bgClr>
              <a:schemeClr val="bg1"/>
            </a:bgClr>
          </a:patt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6D1BEF1-FC1B-0743-AF16-EE27E2F49AFE}"/>
              </a:ext>
            </a:extLst>
          </p:cNvPr>
          <p:cNvSpPr/>
          <p:nvPr/>
        </p:nvSpPr>
        <p:spPr>
          <a:xfrm>
            <a:off x="7825144" y="4639604"/>
            <a:ext cx="169914" cy="495634"/>
          </a:xfrm>
          <a:prstGeom prst="rect">
            <a:avLst/>
          </a:prstGeom>
          <a:pattFill prst="wdUpDiag">
            <a:fgClr>
              <a:srgbClr val="FFC000"/>
            </a:fgClr>
            <a:bgClr>
              <a:schemeClr val="bg1"/>
            </a:bgClr>
          </a:patt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4A44FA3-2911-9045-8398-0A09FA9518B0}"/>
              </a:ext>
            </a:extLst>
          </p:cNvPr>
          <p:cNvSpPr/>
          <p:nvPr/>
        </p:nvSpPr>
        <p:spPr>
          <a:xfrm>
            <a:off x="7574038" y="4784536"/>
            <a:ext cx="177200" cy="385562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0F86472-CAF8-114B-A224-C7525526D13B}"/>
              </a:ext>
            </a:extLst>
          </p:cNvPr>
          <p:cNvSpPr/>
          <p:nvPr/>
        </p:nvSpPr>
        <p:spPr>
          <a:xfrm>
            <a:off x="7322561" y="4873723"/>
            <a:ext cx="177200" cy="372729"/>
          </a:xfrm>
          <a:prstGeom prst="rect">
            <a:avLst/>
          </a:prstGeom>
          <a:pattFill prst="wdUpDiag">
            <a:fgClr>
              <a:srgbClr val="508040"/>
            </a:fgClr>
            <a:bgClr>
              <a:schemeClr val="bg1"/>
            </a:bgClr>
          </a:pattFill>
          <a:ln>
            <a:solidFill>
              <a:srgbClr val="508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">
            <a:extLst>
              <a:ext uri="{FF2B5EF4-FFF2-40B4-BE49-F238E27FC236}">
                <a16:creationId xmlns:a16="http://schemas.microsoft.com/office/drawing/2014/main" id="{0B4A864A-91D4-8449-ABD5-FA2166C978C4}"/>
              </a:ext>
            </a:extLst>
          </p:cNvPr>
          <p:cNvSpPr txBox="1"/>
          <p:nvPr/>
        </p:nvSpPr>
        <p:spPr>
          <a:xfrm>
            <a:off x="5852237" y="3772311"/>
            <a:ext cx="720084" cy="79209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After two weeks</a:t>
            </a:r>
          </a:p>
        </p:txBody>
      </p:sp>
    </p:spTree>
    <p:extLst>
      <p:ext uri="{BB962C8B-B14F-4D97-AF65-F5344CB8AC3E}">
        <p14:creationId xmlns:p14="http://schemas.microsoft.com/office/powerpoint/2010/main" val="298076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8720"/>
    </mc:Choice>
    <mc:Fallback xmlns="">
      <p:transition spd="slow" advTm="7872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BA6D40-B7CF-D342-A032-2D77001E6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Time Schedu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19E135-094D-5D4E-BD19-71241669A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006F2E-85CA-8C49-A0F3-2F9115AC1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21</a:t>
            </a:fld>
            <a:endParaRPr lang="de-DE" altLang="de-DE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17E358-CF30-C34C-92A5-49C580E907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5632365"/>
              </p:ext>
            </p:extLst>
          </p:nvPr>
        </p:nvGraphicFramePr>
        <p:xfrm>
          <a:off x="822324" y="1251207"/>
          <a:ext cx="7543803" cy="45472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635630">
                  <a:extLst>
                    <a:ext uri="{9D8B030D-6E8A-4147-A177-3AD203B41FA5}">
                      <a16:colId xmlns:a16="http://schemas.microsoft.com/office/drawing/2014/main" val="684396106"/>
                    </a:ext>
                  </a:extLst>
                </a:gridCol>
                <a:gridCol w="393879">
                  <a:extLst>
                    <a:ext uri="{9D8B030D-6E8A-4147-A177-3AD203B41FA5}">
                      <a16:colId xmlns:a16="http://schemas.microsoft.com/office/drawing/2014/main" val="3427606840"/>
                    </a:ext>
                  </a:extLst>
                </a:gridCol>
                <a:gridCol w="196940">
                  <a:extLst>
                    <a:ext uri="{9D8B030D-6E8A-4147-A177-3AD203B41FA5}">
                      <a16:colId xmlns:a16="http://schemas.microsoft.com/office/drawing/2014/main" val="236662138"/>
                    </a:ext>
                  </a:extLst>
                </a:gridCol>
                <a:gridCol w="196940">
                  <a:extLst>
                    <a:ext uri="{9D8B030D-6E8A-4147-A177-3AD203B41FA5}">
                      <a16:colId xmlns:a16="http://schemas.microsoft.com/office/drawing/2014/main" val="1171375105"/>
                    </a:ext>
                  </a:extLst>
                </a:gridCol>
                <a:gridCol w="393879">
                  <a:extLst>
                    <a:ext uri="{9D8B030D-6E8A-4147-A177-3AD203B41FA5}">
                      <a16:colId xmlns:a16="http://schemas.microsoft.com/office/drawing/2014/main" val="83554767"/>
                    </a:ext>
                  </a:extLst>
                </a:gridCol>
                <a:gridCol w="393879">
                  <a:extLst>
                    <a:ext uri="{9D8B030D-6E8A-4147-A177-3AD203B41FA5}">
                      <a16:colId xmlns:a16="http://schemas.microsoft.com/office/drawing/2014/main" val="259255499"/>
                    </a:ext>
                  </a:extLst>
                </a:gridCol>
                <a:gridCol w="196938">
                  <a:extLst>
                    <a:ext uri="{9D8B030D-6E8A-4147-A177-3AD203B41FA5}">
                      <a16:colId xmlns:a16="http://schemas.microsoft.com/office/drawing/2014/main" val="442046789"/>
                    </a:ext>
                  </a:extLst>
                </a:gridCol>
                <a:gridCol w="590817">
                  <a:extLst>
                    <a:ext uri="{9D8B030D-6E8A-4147-A177-3AD203B41FA5}">
                      <a16:colId xmlns:a16="http://schemas.microsoft.com/office/drawing/2014/main" val="4215295619"/>
                    </a:ext>
                  </a:extLst>
                </a:gridCol>
                <a:gridCol w="393877">
                  <a:extLst>
                    <a:ext uri="{9D8B030D-6E8A-4147-A177-3AD203B41FA5}">
                      <a16:colId xmlns:a16="http://schemas.microsoft.com/office/drawing/2014/main" val="1805360346"/>
                    </a:ext>
                  </a:extLst>
                </a:gridCol>
                <a:gridCol w="196940">
                  <a:extLst>
                    <a:ext uri="{9D8B030D-6E8A-4147-A177-3AD203B41FA5}">
                      <a16:colId xmlns:a16="http://schemas.microsoft.com/office/drawing/2014/main" val="3771914360"/>
                    </a:ext>
                  </a:extLst>
                </a:gridCol>
                <a:gridCol w="196940">
                  <a:extLst>
                    <a:ext uri="{9D8B030D-6E8A-4147-A177-3AD203B41FA5}">
                      <a16:colId xmlns:a16="http://schemas.microsoft.com/office/drawing/2014/main" val="3660511366"/>
                    </a:ext>
                  </a:extLst>
                </a:gridCol>
                <a:gridCol w="393877">
                  <a:extLst>
                    <a:ext uri="{9D8B030D-6E8A-4147-A177-3AD203B41FA5}">
                      <a16:colId xmlns:a16="http://schemas.microsoft.com/office/drawing/2014/main" val="2358570459"/>
                    </a:ext>
                  </a:extLst>
                </a:gridCol>
                <a:gridCol w="590817">
                  <a:extLst>
                    <a:ext uri="{9D8B030D-6E8A-4147-A177-3AD203B41FA5}">
                      <a16:colId xmlns:a16="http://schemas.microsoft.com/office/drawing/2014/main" val="87826329"/>
                    </a:ext>
                  </a:extLst>
                </a:gridCol>
                <a:gridCol w="590817">
                  <a:extLst>
                    <a:ext uri="{9D8B030D-6E8A-4147-A177-3AD203B41FA5}">
                      <a16:colId xmlns:a16="http://schemas.microsoft.com/office/drawing/2014/main" val="2572209852"/>
                    </a:ext>
                  </a:extLst>
                </a:gridCol>
                <a:gridCol w="1181633">
                  <a:extLst>
                    <a:ext uri="{9D8B030D-6E8A-4147-A177-3AD203B41FA5}">
                      <a16:colId xmlns:a16="http://schemas.microsoft.com/office/drawing/2014/main" val="1747427226"/>
                    </a:ext>
                  </a:extLst>
                </a:gridCol>
              </a:tblGrid>
              <a:tr h="68889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dirty="0"/>
                        <a:t>April</a:t>
                      </a:r>
                    </a:p>
                  </a:txBody>
                  <a:tcPr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dirty="0"/>
                        <a:t>May</a:t>
                      </a:r>
                    </a:p>
                  </a:txBody>
                  <a:tcPr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dirty="0"/>
                        <a:t>June</a:t>
                      </a:r>
                    </a:p>
                  </a:txBody>
                  <a:tcPr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/>
                        <a:t>July </a:t>
                      </a:r>
                    </a:p>
                  </a:txBody>
                  <a:tcPr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ugust</a:t>
                      </a:r>
                    </a:p>
                  </a:txBody>
                  <a:tcPr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5555102"/>
                  </a:ext>
                </a:extLst>
              </a:tr>
              <a:tr h="747922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iterature research</a:t>
                      </a:r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3851950"/>
                  </a:ext>
                </a:extLst>
              </a:tr>
              <a:tr h="43332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Experiments</a:t>
                      </a:r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6586309"/>
                  </a:ext>
                </a:extLst>
              </a:tr>
              <a:tr h="747922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ata analysis</a:t>
                      </a:r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8475823"/>
                  </a:ext>
                </a:extLst>
              </a:tr>
              <a:tr h="747922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Interim Presentation</a:t>
                      </a:r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2400" dirty="0">
                          <a:solidFill>
                            <a:srgbClr val="27401F"/>
                          </a:solidFill>
                        </a:rPr>
                        <a:t>            </a:t>
                      </a:r>
                      <a:endParaRPr lang="en-US" dirty="0">
                        <a:solidFill>
                          <a:srgbClr val="27401F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5844410"/>
                  </a:ext>
                </a:extLst>
              </a:tr>
              <a:tr h="43332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Writing</a:t>
                      </a:r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8832884"/>
                  </a:ext>
                </a:extLst>
              </a:tr>
              <a:tr h="747922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Final Presentation</a:t>
                      </a:r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rgbClr val="27401F"/>
                          </a:solidFill>
                        </a:rPr>
                        <a:t>x</a:t>
                      </a:r>
                      <a:endParaRPr lang="en-US" sz="2400" dirty="0"/>
                    </a:p>
                  </a:txBody>
                  <a:tcPr>
                    <a:lnL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2740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6348962"/>
                  </a:ext>
                </a:extLst>
              </a:tr>
            </a:tbl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18528C9-7A43-D440-9082-B5DAEB3DD44E}"/>
              </a:ext>
            </a:extLst>
          </p:cNvPr>
          <p:cNvCxnSpPr>
            <a:cxnSpLocks/>
          </p:cNvCxnSpPr>
          <p:nvPr/>
        </p:nvCxnSpPr>
        <p:spPr bwMode="auto">
          <a:xfrm>
            <a:off x="5802192" y="1988840"/>
            <a:ext cx="0" cy="3949919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A85F573-E032-954E-B836-6C51E25AA603}"/>
              </a:ext>
            </a:extLst>
          </p:cNvPr>
          <p:cNvSpPr txBox="1"/>
          <p:nvPr/>
        </p:nvSpPr>
        <p:spPr>
          <a:xfrm>
            <a:off x="5436096" y="5942055"/>
            <a:ext cx="7920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da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DC60FD-6631-C94A-A237-15D42E933323}"/>
              </a:ext>
            </a:extLst>
          </p:cNvPr>
          <p:cNvSpPr txBox="1"/>
          <p:nvPr/>
        </p:nvSpPr>
        <p:spPr>
          <a:xfrm>
            <a:off x="5652120" y="4005064"/>
            <a:ext cx="2880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27401F"/>
                </a:solidFill>
                <a:latin typeface="+mn-lt"/>
              </a:rPr>
              <a:t>x</a:t>
            </a:r>
            <a:endParaRPr lang="en-US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3530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166"/>
    </mc:Choice>
    <mc:Fallback xmlns="">
      <p:transition spd="slow" advTm="30166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00139-08D9-D440-A293-AB84563DC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Sourc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9FF789-A700-6249-B51D-39445EE634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CEAA44-375E-984C-94EE-B742D6596E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22</a:t>
            </a:fld>
            <a:endParaRPr lang="de-DE" altLang="de-DE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6FBE9EE-6B9D-4F40-9124-69D6AEA4E9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32571"/>
              </p:ext>
            </p:extLst>
          </p:nvPr>
        </p:nvGraphicFramePr>
        <p:xfrm>
          <a:off x="822325" y="1446276"/>
          <a:ext cx="7926140" cy="446313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41363">
                  <a:extLst>
                    <a:ext uri="{9D8B030D-6E8A-4147-A177-3AD203B41FA5}">
                      <a16:colId xmlns:a16="http://schemas.microsoft.com/office/drawing/2014/main" val="2010402378"/>
                    </a:ext>
                  </a:extLst>
                </a:gridCol>
                <a:gridCol w="6984777">
                  <a:extLst>
                    <a:ext uri="{9D8B030D-6E8A-4147-A177-3AD203B41FA5}">
                      <a16:colId xmlns:a16="http://schemas.microsoft.com/office/drawing/2014/main" val="7064795"/>
                    </a:ext>
                  </a:extLst>
                </a:gridCol>
              </a:tblGrid>
              <a:tr h="920925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1]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elmich, U.: Logistisches Wachstum. Helmichs Biologie-Lexikon. 2016. </a:t>
                      </a:r>
                      <a:r>
                        <a:rPr lang="de-DE" sz="1600" b="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Access: 24.05.2018. http://</a:t>
                      </a:r>
                      <a:r>
                        <a:rPr lang="de-DE" sz="1600" b="0" kern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ww.u-helmich.de</a:t>
                      </a:r>
                      <a:r>
                        <a:rPr lang="de-DE" sz="1600" b="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de-DE" sz="1600" b="0" kern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</a:t>
                      </a:r>
                      <a:r>
                        <a:rPr lang="de-DE" sz="1600" b="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de-DE" sz="1600" b="0" kern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xikon</a:t>
                      </a:r>
                      <a:r>
                        <a:rPr lang="de-DE" sz="1600" b="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L/</a:t>
                      </a:r>
                      <a:r>
                        <a:rPr lang="de-DE" sz="1600" b="0" kern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gistisches_Wachstum.html</a:t>
                      </a:r>
                      <a:r>
                        <a:rPr lang="de-DE" sz="1600" b="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 </a:t>
                      </a:r>
                      <a:endParaRPr lang="de-DE" sz="16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5828635"/>
                  </a:ext>
                </a:extLst>
              </a:tr>
              <a:tr h="920925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2]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rowne, J. et al.: 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he effects of storage time and temperature on biogas production from dairy cow slurry. 2014.</a:t>
                      </a:r>
                      <a:endParaRPr lang="de-DE" sz="16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  <a:p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Access: 09.05.2018: https://</a:t>
                      </a:r>
                      <a:r>
                        <a:rPr lang="de-DE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ac.els-cdn.com</a:t>
                      </a:r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/S1537511014001615/1-s2.0-S1537511014001615-main.pdf?_tid=d89c68a7-4800-489d-9c15-b92e3fc6d42e&amp;acdnat=1525898666_12a46d6ec82740a8b5f6b48d10a99962]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4010383"/>
                  </a:ext>
                </a:extLst>
              </a:tr>
              <a:tr h="920925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3]</a:t>
                      </a:r>
                      <a:endParaRPr lang="x-none" sz="16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arma, S.K. et al.: Effect of particle size on biogas generation from biomass residues. Research Gate. 1988. [Access: 20.06.2018. https://</a:t>
                      </a:r>
                      <a:r>
                        <a:rPr lang="en-US" sz="1600" b="0" i="0" kern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ww.researchgate.net</a:t>
                      </a:r>
                      <a:r>
                        <a:rPr lang="en-US" sz="1600" b="0" i="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publication/223654307_Effect_of_particle_size_on_biogas_generation_from_biomass_residues]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x-none" sz="16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052962"/>
                  </a:ext>
                </a:extLst>
              </a:tr>
              <a:tr h="920925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4]</a:t>
                      </a:r>
                      <a:endParaRPr lang="x-none" sz="16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. 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Kliche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; M. 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ebuhn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: Bayern Biogas Forum: 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chaum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in 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iogasanlagen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. 2017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Access: 09.05.2018. http://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www.biogas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-forum-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ayern.de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/media/files/0003/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chaum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-in-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iogasanlagen.pdf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].</a:t>
                      </a:r>
                      <a:endParaRPr lang="x-none" sz="16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8207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902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2"/>
    </mc:Choice>
    <mc:Fallback xmlns="">
      <p:transition spd="slow" advTm="1002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00139-08D9-D440-A293-AB84563DC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Sourc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9FF789-A700-6249-B51D-39445EE634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CEAA44-375E-984C-94EE-B742D6596E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23</a:t>
            </a:fld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77D82E-80B3-AD40-9E10-20983D66ED5C}"/>
              </a:ext>
            </a:extLst>
          </p:cNvPr>
          <p:cNvSpPr txBox="1"/>
          <p:nvPr/>
        </p:nvSpPr>
        <p:spPr>
          <a:xfrm>
            <a:off x="822325" y="3630514"/>
            <a:ext cx="60553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age source from slides 4, 5, and 19: </a:t>
            </a:r>
            <a:r>
              <a:rPr lang="en-US" sz="1600" dirty="0" err="1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aticon.com</a:t>
            </a:r>
            <a:endParaRPr lang="en-US" sz="1600" dirty="0">
              <a:solidFill>
                <a:schemeClr val="bg2">
                  <a:lumMod val="1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5424AFA-FADA-D544-A9D1-31571D82F2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8520518"/>
              </p:ext>
            </p:extLst>
          </p:nvPr>
        </p:nvGraphicFramePr>
        <p:xfrm>
          <a:off x="822325" y="1416266"/>
          <a:ext cx="7926139" cy="22612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13371">
                  <a:extLst>
                    <a:ext uri="{9D8B030D-6E8A-4147-A177-3AD203B41FA5}">
                      <a16:colId xmlns:a16="http://schemas.microsoft.com/office/drawing/2014/main" val="3263751459"/>
                    </a:ext>
                  </a:extLst>
                </a:gridCol>
                <a:gridCol w="6912768">
                  <a:extLst>
                    <a:ext uri="{9D8B030D-6E8A-4147-A177-3AD203B41FA5}">
                      <a16:colId xmlns:a16="http://schemas.microsoft.com/office/drawing/2014/main" val="2487715961"/>
                    </a:ext>
                  </a:extLst>
                </a:gridCol>
              </a:tblGrid>
              <a:tr h="622955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5]</a:t>
                      </a:r>
                      <a:endParaRPr lang="x-none" sz="16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r. Schieder et al.: Prozessmodell Biogas. 2010. </a:t>
                      </a:r>
                      <a:r>
                        <a:rPr lang="en-US" sz="1600" b="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Access: 24.05.2018. http://</a:t>
                      </a:r>
                      <a:r>
                        <a:rPr lang="en-US" sz="1600" b="0" kern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ww.biogas</a:t>
                      </a:r>
                      <a:r>
                        <a:rPr lang="en-US" sz="1600" b="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forum-</a:t>
                      </a:r>
                      <a:r>
                        <a:rPr lang="en-US" sz="1600" b="0" kern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yern.de</a:t>
                      </a:r>
                      <a:r>
                        <a:rPr lang="en-US" sz="1600" b="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media/files/0001/</a:t>
                      </a:r>
                      <a:r>
                        <a:rPr lang="en-US" sz="1600" b="0" kern="1200" dirty="0" err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zessmodell-Biogas.pdf</a:t>
                      </a:r>
                      <a:r>
                        <a:rPr lang="en-US" sz="1600" b="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  <a:endParaRPr lang="x-none" sz="16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378200"/>
                  </a:ext>
                </a:extLst>
              </a:tr>
              <a:tr h="622955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6]</a:t>
                      </a:r>
                      <a:endParaRPr lang="x-none" sz="16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. 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Klußmann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: Pump- und 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ührtechnik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in 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andwirtschaftlichen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iogasanlagen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. N.Y.</a:t>
                      </a:r>
                    </a:p>
                    <a:p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Access: 09.05.2018. http://</a:t>
                      </a:r>
                      <a:r>
                        <a:rPr lang="en-US" sz="1600" b="0" dirty="0" err="1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www.bfl-online.de</a:t>
                      </a:r>
                      <a:r>
                        <a:rPr lang="en-US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/media/pump_und_%20ruehrtechnik_in_%20biogasanlagen.pdf]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0494407"/>
                  </a:ext>
                </a:extLst>
              </a:tr>
              <a:tr h="615360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[7]</a:t>
                      </a:r>
                      <a:endParaRPr lang="x-none" sz="1600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Verein Deutscher Ingenieure: VDI 4630. 2016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44370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656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09"/>
    </mc:Choice>
    <mc:Fallback xmlns="">
      <p:transition spd="slow" advTm="1609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46F323-396D-174E-806F-900592DCC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21507" name="Foliennummernplatzhalter 4">
            <a:extLst>
              <a:ext uri="{FF2B5EF4-FFF2-40B4-BE49-F238E27FC236}">
                <a16:creationId xmlns:a16="http://schemas.microsoft.com/office/drawing/2014/main" id="{48374CBF-E2C7-4A4A-B083-DAF2D97A6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3D86D37-4668-A64B-864F-6AB9A97D41AF}" type="slidenum">
              <a:rPr lang="de-DE" altLang="de-DE" sz="1000" smtClean="0">
                <a:solidFill>
                  <a:srgbClr val="FFFFFF"/>
                </a:solidFill>
              </a:rPr>
              <a:pPr/>
              <a:t>24</a:t>
            </a:fld>
            <a:endParaRPr lang="de-DE" altLang="de-DE" sz="1000">
              <a:solidFill>
                <a:srgbClr val="FFFFFF"/>
              </a:solidFill>
            </a:endParaRPr>
          </a:p>
        </p:txBody>
      </p:sp>
      <p:sp>
        <p:nvSpPr>
          <p:cNvPr id="21508" name="Content Placeholder 2">
            <a:extLst>
              <a:ext uri="{FF2B5EF4-FFF2-40B4-BE49-F238E27FC236}">
                <a16:creationId xmlns:a16="http://schemas.microsoft.com/office/drawing/2014/main" id="{CB041203-96AE-CE4C-9E55-AAA0DF9185E5}"/>
              </a:ext>
            </a:extLst>
          </p:cNvPr>
          <p:cNvSpPr txBox="1">
            <a:spLocks/>
          </p:cNvSpPr>
          <p:nvPr/>
        </p:nvSpPr>
        <p:spPr bwMode="auto">
          <a:xfrm>
            <a:off x="836613" y="1844675"/>
            <a:ext cx="7543800" cy="402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90488" indent="-90488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>
                <a:solidFill>
                  <a:srgbClr val="404040"/>
                </a:solidFill>
                <a:latin typeface="Calibri" panose="020F0502020204030204" pitchFamily="34" charset="0"/>
              </a:defRPr>
            </a:lvl1pPr>
            <a:lvl2pPr marL="382588" indent="-182563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>
                <a:solidFill>
                  <a:srgbClr val="404040"/>
                </a:solidFill>
                <a:latin typeface="Calibri" panose="020F0502020204030204" pitchFamily="34" charset="0"/>
              </a:defRPr>
            </a:lvl2pPr>
            <a:lvl3pPr marL="566738" indent="-182563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>
                <a:solidFill>
                  <a:srgbClr val="404040"/>
                </a:solidFill>
                <a:latin typeface="Calibri" panose="020F0502020204030204" pitchFamily="34" charset="0"/>
              </a:defRPr>
            </a:lvl3pPr>
            <a:lvl4pPr marL="749300" indent="-182563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>
                <a:solidFill>
                  <a:srgbClr val="404040"/>
                </a:solidFill>
                <a:latin typeface="Calibri" panose="020F0502020204030204" pitchFamily="34" charset="0"/>
              </a:defRPr>
            </a:lvl4pPr>
            <a:lvl5pPr marL="931863" indent="-182563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>
                <a:solidFill>
                  <a:srgbClr val="404040"/>
                </a:solidFill>
                <a:latin typeface="Calibri" panose="020F0502020204030204" pitchFamily="34" charset="0"/>
              </a:defRPr>
            </a:lvl5pPr>
            <a:lvl6pPr marL="1389063" indent="-182563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>
                <a:solidFill>
                  <a:srgbClr val="404040"/>
                </a:solidFill>
                <a:latin typeface="Calibri" panose="020F0502020204030204" pitchFamily="34" charset="0"/>
              </a:defRPr>
            </a:lvl6pPr>
            <a:lvl7pPr marL="1846263" indent="-182563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>
                <a:solidFill>
                  <a:srgbClr val="404040"/>
                </a:solidFill>
                <a:latin typeface="Calibri" panose="020F0502020204030204" pitchFamily="34" charset="0"/>
              </a:defRPr>
            </a:lvl7pPr>
            <a:lvl8pPr marL="2303463" indent="-182563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>
                <a:solidFill>
                  <a:srgbClr val="404040"/>
                </a:solidFill>
                <a:latin typeface="Calibri" panose="020F0502020204030204" pitchFamily="34" charset="0"/>
              </a:defRPr>
            </a:lvl8pPr>
            <a:lvl9pPr marL="2760663" indent="-182563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>
                <a:solidFill>
                  <a:srgbClr val="404040"/>
                </a:solidFill>
                <a:latin typeface="Calibri" panose="020F0502020204030204" pitchFamily="34" charset="0"/>
              </a:defRPr>
            </a:lvl9pPr>
          </a:lstStyle>
          <a:p>
            <a:r>
              <a:rPr lang="vi-VN" altLang="de-DE" sz="2800" dirty="0">
                <a:solidFill>
                  <a:schemeClr val="bg2">
                    <a:lumMod val="10000"/>
                  </a:schemeClr>
                </a:solidFill>
              </a:rPr>
              <a:t>Cảm ơn bạn đã quan tâm của bạn</a:t>
            </a:r>
            <a:r>
              <a:rPr lang="de-DE" altLang="de-DE" sz="2800" dirty="0">
                <a:solidFill>
                  <a:schemeClr val="bg2">
                    <a:lumMod val="10000"/>
                  </a:schemeClr>
                </a:solidFill>
              </a:rPr>
              <a:t>!</a:t>
            </a:r>
          </a:p>
          <a:p>
            <a:r>
              <a:rPr lang="de-DE" altLang="de-DE" sz="2800" dirty="0" err="1">
                <a:solidFill>
                  <a:schemeClr val="bg2">
                    <a:lumMod val="10000"/>
                  </a:schemeClr>
                </a:solidFill>
              </a:rPr>
              <a:t>Thank</a:t>
            </a:r>
            <a:r>
              <a:rPr lang="de-DE" altLang="de-DE" sz="28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altLang="de-DE" sz="2800" dirty="0" err="1">
                <a:solidFill>
                  <a:schemeClr val="bg2">
                    <a:lumMod val="10000"/>
                  </a:schemeClr>
                </a:solidFill>
              </a:rPr>
              <a:t>you</a:t>
            </a:r>
            <a:r>
              <a:rPr lang="de-DE" altLang="de-DE" sz="28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altLang="de-DE" sz="2800" dirty="0" err="1">
                <a:solidFill>
                  <a:schemeClr val="bg2">
                    <a:lumMod val="10000"/>
                  </a:schemeClr>
                </a:solidFill>
              </a:rPr>
              <a:t>for</a:t>
            </a:r>
            <a:r>
              <a:rPr lang="de-DE" altLang="de-DE" sz="28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altLang="de-DE" sz="2800" dirty="0" err="1">
                <a:solidFill>
                  <a:schemeClr val="bg2">
                    <a:lumMod val="10000"/>
                  </a:schemeClr>
                </a:solidFill>
              </a:rPr>
              <a:t>your</a:t>
            </a:r>
            <a:r>
              <a:rPr lang="de-DE" altLang="de-DE" sz="28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altLang="de-DE" sz="2800" dirty="0" err="1">
                <a:solidFill>
                  <a:schemeClr val="bg2">
                    <a:lumMod val="10000"/>
                  </a:schemeClr>
                </a:solidFill>
              </a:rPr>
              <a:t>attention</a:t>
            </a:r>
            <a:r>
              <a:rPr lang="de-DE" altLang="de-DE" sz="2800" dirty="0">
                <a:solidFill>
                  <a:schemeClr val="bg2">
                    <a:lumMod val="10000"/>
                  </a:schemeClr>
                </a:solidFill>
              </a:rPr>
              <a:t>!</a:t>
            </a:r>
          </a:p>
          <a:p>
            <a:r>
              <a:rPr lang="de-DE" altLang="de-DE" sz="2800" dirty="0">
                <a:solidFill>
                  <a:schemeClr val="bg2">
                    <a:lumMod val="10000"/>
                  </a:schemeClr>
                </a:solidFill>
              </a:rPr>
              <a:t>Vielen Dank für Ihre Aufmerksamkeit!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389"/>
    </mc:Choice>
    <mc:Fallback xmlns="">
      <p:transition spd="slow" advTm="3389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5445F-593F-964E-8129-D855F7E561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Additional Sli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004B77-5B57-5749-932C-A82DD50110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180177-8D24-434C-B201-570F09E4F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681708-67F2-9B44-9F25-AF2A440BA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2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20604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15"/>
    </mc:Choice>
    <mc:Fallback xmlns="">
      <p:transition spd="slow" advTm="415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3C8DF-5D4A-7B45-B4CD-F86CB162B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Thesis Struc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96DBD4-0BE3-714B-882B-D9FB5C23E5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AA1652-24A0-0F4B-BD9A-E78C67145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26</a:t>
            </a:fld>
            <a:endParaRPr lang="de-DE" altLang="de-DE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238C7A23-5C4E-394C-B2AD-BD227B4A420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822325" y="1356042"/>
            <a:ext cx="3821683" cy="4278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tabLst>
                <a:tab pos="304800" algn="l"/>
                <a:tab pos="5937250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tabLst>
                <a:tab pos="304800" algn="l"/>
                <a:tab pos="5937250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tabLst>
                <a:tab pos="304800" algn="l"/>
                <a:tab pos="5937250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tabLst>
                <a:tab pos="304800" algn="l"/>
                <a:tab pos="5937250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tabLst>
                <a:tab pos="304800" algn="l"/>
                <a:tab pos="5937250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304800" algn="l"/>
                <a:tab pos="5937250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304800" algn="l"/>
                <a:tab pos="5937250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304800" algn="l"/>
                <a:tab pos="5937250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304800" algn="l"/>
                <a:tab pos="5937250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1.</a:t>
            </a: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troduction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2.</a:t>
            </a: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ackground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2.1.Anaerobic Digestion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2.2.</a:t>
            </a: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Inocula and their Environmental Impact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2.3.Inocula in Existing Biogas Plants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2.4.VDI 4630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2.5.Batch Tests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2.6.OxiTop-C Measuring System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2.7.Normal Volume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3.</a:t>
            </a: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terials and Methods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3.1.Sample Materials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</a:t>
            </a: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3.1.1.</a:t>
            </a: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llection and Storage of Samples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4800" algn="l"/>
                <a:tab pos="5937250" algn="r"/>
              </a:tabLst>
            </a:pP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	3.2.Analyses of Parameters (Dry Substance, Loss on Ignition, C/N/S, Density)</a:t>
            </a:r>
            <a:endParaRPr kumimoji="0" lang="en-US" altLang="en-US" sz="1600" b="0" i="0" strike="noStrike" cap="none" normalizeH="0" baseline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D4B59D-6A12-6047-B5BC-699ADBEBC8F5}"/>
              </a:ext>
            </a:extLst>
          </p:cNvPr>
          <p:cNvSpPr txBox="1"/>
          <p:nvPr/>
        </p:nvSpPr>
        <p:spPr>
          <a:xfrm>
            <a:off x="4860032" y="1232932"/>
            <a:ext cx="3506093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3.3.Preparation of the Inocula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3.4.Preparation of the Testing System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3.5.Incubation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3.6.Calculations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3.7.Analyses at the End of the Batch Test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4.</a:t>
            </a: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Results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4.1.Inoculum Parameters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4.2.Incubation Results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	4.2.1.Comparison of Different Inocula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5.</a:t>
            </a: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Discussion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5.1.Biogas Production Rate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	5.1.1.Comparison of All Six Different Inocula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5.2.VDI 4630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	5.3.Error Analysis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pPr lvl="0">
              <a:tabLst>
                <a:tab pos="304800" algn="l"/>
                <a:tab pos="5937250" algn="r"/>
              </a:tabLst>
            </a:pP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6.</a:t>
            </a:r>
            <a:r>
              <a:rPr kumimoji="0" lang="en-US" altLang="en-US" sz="1600" b="0" i="0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altLang="en-US" sz="1600" dirty="0">
                <a:solidFill>
                  <a:schemeClr val="bg2">
                    <a:lumMod val="10000"/>
                  </a:schemeClr>
                </a:solidFill>
                <a:ea typeface="Times New Roman" panose="02020603050405020304" pitchFamily="18" charset="0"/>
              </a:rPr>
              <a:t>Conclusion</a:t>
            </a:r>
            <a:endParaRPr lang="en-US" altLang="en-US" sz="1600" dirty="0">
              <a:solidFill>
                <a:schemeClr val="bg2">
                  <a:lumMod val="10000"/>
                </a:schemeClr>
              </a:solidFill>
            </a:endParaRPr>
          </a:p>
          <a:p>
            <a:endParaRPr lang="en-US" sz="16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742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963"/>
    </mc:Choice>
    <mc:Fallback xmlns="">
      <p:transition spd="slow" advTm="4963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816B7E-390C-A54D-91ED-FBBD85CF6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Overall Comparis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B0BA12-547F-324B-9187-43FBC34DA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98429F-2E9B-D141-AE32-682EBDA5D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27</a:t>
            </a:fld>
            <a:endParaRPr lang="de-DE" altLang="de-DE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B1F71C2-2C8B-9347-B1D1-63439D811564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187624" y="1412776"/>
          <a:ext cx="6744890" cy="4032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048F06DF-5DA2-D443-B7BE-DE607A161A57}"/>
              </a:ext>
            </a:extLst>
          </p:cNvPr>
          <p:cNvSpPr/>
          <p:nvPr/>
        </p:nvSpPr>
        <p:spPr>
          <a:xfrm>
            <a:off x="4337539" y="2908468"/>
            <a:ext cx="404240" cy="952580"/>
          </a:xfrm>
          <a:prstGeom prst="rect">
            <a:avLst/>
          </a:prstGeom>
          <a:pattFill prst="wdUpDiag">
            <a:fgClr>
              <a:srgbClr val="00B0F0"/>
            </a:fgClr>
            <a:bgClr>
              <a:schemeClr val="bg1"/>
            </a:bgClr>
          </a:patt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14361D9-4B74-CF4D-A19F-CA421F13A6B6}"/>
              </a:ext>
            </a:extLst>
          </p:cNvPr>
          <p:cNvSpPr/>
          <p:nvPr/>
        </p:nvSpPr>
        <p:spPr>
          <a:xfrm>
            <a:off x="3814436" y="2374237"/>
            <a:ext cx="405872" cy="1707096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BB769D-5DCC-B140-A13A-C59BFE4052F7}"/>
              </a:ext>
            </a:extLst>
          </p:cNvPr>
          <p:cNvSpPr/>
          <p:nvPr/>
        </p:nvSpPr>
        <p:spPr>
          <a:xfrm>
            <a:off x="4872372" y="3134931"/>
            <a:ext cx="383474" cy="861895"/>
          </a:xfrm>
          <a:prstGeom prst="rect">
            <a:avLst/>
          </a:prstGeom>
          <a:pattFill prst="wdUpDiag">
            <a:fgClr>
              <a:srgbClr val="0070C0"/>
            </a:fgClr>
            <a:bgClr>
              <a:schemeClr val="bg1"/>
            </a:bgClr>
          </a:patt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15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962"/>
    </mc:Choice>
    <mc:Fallback xmlns="">
      <p:transition spd="slow" advTm="7962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D0453-4BF8-A043-A5AB-45C539F9E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Norm Liter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5DCCB2-0564-8F4B-8C85-D57163E35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CA5D04-7187-904C-B88D-A544CAC368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28</a:t>
            </a:fld>
            <a:endParaRPr lang="de-DE" altLang="de-DE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00BC5399-B1AB-EF43-97EC-38E3CC99B4F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822325" y="1268760"/>
          <a:ext cx="7543802" cy="46446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85579">
                  <a:extLst>
                    <a:ext uri="{9D8B030D-6E8A-4147-A177-3AD203B41FA5}">
                      <a16:colId xmlns:a16="http://schemas.microsoft.com/office/drawing/2014/main" val="1950070536"/>
                    </a:ext>
                  </a:extLst>
                </a:gridCol>
                <a:gridCol w="720081">
                  <a:extLst>
                    <a:ext uri="{9D8B030D-6E8A-4147-A177-3AD203B41FA5}">
                      <a16:colId xmlns:a16="http://schemas.microsoft.com/office/drawing/2014/main" val="3235668796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40214437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3916371558"/>
                    </a:ext>
                  </a:extLst>
                </a:gridCol>
                <a:gridCol w="1345854">
                  <a:extLst>
                    <a:ext uri="{9D8B030D-6E8A-4147-A177-3AD203B41FA5}">
                      <a16:colId xmlns:a16="http://schemas.microsoft.com/office/drawing/2014/main" val="3070738826"/>
                    </a:ext>
                  </a:extLst>
                </a:gridCol>
              </a:tblGrid>
              <a:tr h="288032"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</a:rPr>
                        <a:t>Inoculum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 h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>
                          <a:effectLst/>
                        </a:rPr>
                        <a:t>NL</a:t>
                      </a:r>
                      <a:endParaRPr lang="en-US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 err="1">
                          <a:effectLst/>
                        </a:rPr>
                        <a:t>oTS</a:t>
                      </a:r>
                      <a:r>
                        <a:rPr lang="en-US" sz="1800" dirty="0">
                          <a:effectLst/>
                        </a:rPr>
                        <a:t> available [g]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</a:rPr>
                        <a:t>NL / kg </a:t>
                      </a:r>
                      <a:r>
                        <a:rPr lang="en-US" sz="1800" dirty="0" err="1">
                          <a:effectLst/>
                        </a:rPr>
                        <a:t>oTS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924528534"/>
                  </a:ext>
                </a:extLst>
              </a:tr>
              <a:tr h="475243"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</a:rPr>
                        <a:t>Fresh Sewage Sludge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1.00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.01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49.55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1155686658"/>
                  </a:ext>
                </a:extLst>
              </a:tr>
              <a:tr h="475243"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>
                          <a:effectLst/>
                          <a:latin typeface="+mn-lt"/>
                        </a:rPr>
                        <a:t>0.88</a:t>
                      </a:r>
                      <a:endParaRPr lang="en-US" sz="18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.03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18.74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2574718404"/>
                  </a:ext>
                </a:extLst>
              </a:tr>
              <a:tr h="475243"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1.00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.10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43.17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3162777892"/>
                  </a:ext>
                </a:extLst>
              </a:tr>
              <a:tr h="475243"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</a:rPr>
                        <a:t>Stored Sewage Sludge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.27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.32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81.04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2150939777"/>
                  </a:ext>
                </a:extLst>
              </a:tr>
              <a:tr h="475243"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.29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.32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86.91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743311000"/>
                  </a:ext>
                </a:extLst>
              </a:tr>
              <a:tr h="475243"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.27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 3.33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80.36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3194955019"/>
                  </a:ext>
                </a:extLst>
              </a:tr>
              <a:tr h="475243"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</a:rPr>
                        <a:t>Unscreened Cow Manure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0.36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.87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1.86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1502455319"/>
                  </a:ext>
                </a:extLst>
              </a:tr>
              <a:tr h="475243"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0.41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7.32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5.47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2363018792"/>
                  </a:ext>
                </a:extLst>
              </a:tr>
              <a:tr h="475243"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>
                          <a:effectLst/>
                          <a:latin typeface="+mn-lt"/>
                        </a:rPr>
                        <a:t>0.35</a:t>
                      </a:r>
                      <a:endParaRPr lang="en-US" sz="18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.75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1.11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10529195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406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276"/>
    </mc:Choice>
    <mc:Fallback xmlns="">
      <p:transition spd="slow" advTm="4276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D0453-4BF8-A043-A5AB-45C539F9E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esults – Norm Liter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5DCCB2-0564-8F4B-8C85-D57163E35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CA5D04-7187-904C-B88D-A544CAC368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29</a:t>
            </a:fld>
            <a:endParaRPr lang="de-DE" altLang="de-DE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3A9F0B9-A333-E04A-B70A-4264C006DE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A4087670-4D54-6147-AF72-B7148867031C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822325" y="1268760"/>
          <a:ext cx="7543802" cy="46446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85579">
                  <a:extLst>
                    <a:ext uri="{9D8B030D-6E8A-4147-A177-3AD203B41FA5}">
                      <a16:colId xmlns:a16="http://schemas.microsoft.com/office/drawing/2014/main" val="1950070536"/>
                    </a:ext>
                  </a:extLst>
                </a:gridCol>
                <a:gridCol w="720081">
                  <a:extLst>
                    <a:ext uri="{9D8B030D-6E8A-4147-A177-3AD203B41FA5}">
                      <a16:colId xmlns:a16="http://schemas.microsoft.com/office/drawing/2014/main" val="3235668796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40214437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3916371558"/>
                    </a:ext>
                  </a:extLst>
                </a:gridCol>
                <a:gridCol w="1345854">
                  <a:extLst>
                    <a:ext uri="{9D8B030D-6E8A-4147-A177-3AD203B41FA5}">
                      <a16:colId xmlns:a16="http://schemas.microsoft.com/office/drawing/2014/main" val="3070738826"/>
                    </a:ext>
                  </a:extLst>
                </a:gridCol>
              </a:tblGrid>
              <a:tr h="288032"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</a:rPr>
                        <a:t>Inoculum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 h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</a:rPr>
                        <a:t>NL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 err="1">
                          <a:effectLst/>
                        </a:rPr>
                        <a:t>oTS</a:t>
                      </a:r>
                      <a:r>
                        <a:rPr lang="en-US" sz="1800" dirty="0">
                          <a:effectLst/>
                        </a:rPr>
                        <a:t> available [g]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</a:rPr>
                        <a:t>NL / kg </a:t>
                      </a:r>
                      <a:r>
                        <a:rPr lang="en-US" sz="1800" dirty="0" err="1">
                          <a:effectLst/>
                        </a:rPr>
                        <a:t>oTS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924528534"/>
                  </a:ext>
                </a:extLst>
              </a:tr>
              <a:tr h="475243"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</a:rPr>
                        <a:t>Screened Cow Manure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2.68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.71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721.17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1155686658"/>
                  </a:ext>
                </a:extLst>
              </a:tr>
              <a:tr h="475243"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2.38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.68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47.09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2574718404"/>
                  </a:ext>
                </a:extLst>
              </a:tr>
              <a:tr h="475243"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2.18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.60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07.24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3162777892"/>
                  </a:ext>
                </a:extLst>
              </a:tr>
              <a:tr h="475243"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</a:rPr>
                        <a:t>Stirred Fermentation Residues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.68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 10.57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59.09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2150939777"/>
                  </a:ext>
                </a:extLst>
              </a:tr>
              <a:tr h="475243"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.86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 11.22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65.71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743311000"/>
                  </a:ext>
                </a:extLst>
              </a:tr>
              <a:tr h="475243"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.93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 10.88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6.92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3194955019"/>
                  </a:ext>
                </a:extLst>
              </a:tr>
              <a:tr h="475243"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</a:rPr>
                        <a:t>Unstirred Fermentation Residues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.35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1.11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1.82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1502455319"/>
                  </a:ext>
                </a:extLst>
              </a:tr>
              <a:tr h="475243"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.56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1.29</a:t>
                      </a: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37.71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2363018792"/>
                  </a:ext>
                </a:extLst>
              </a:tr>
              <a:tr h="475243"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38192" marR="38192" marT="0" marB="0">
                    <a:solidFill>
                      <a:srgbClr val="5080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 1.81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 11.01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8192" marR="38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64.13</a:t>
                      </a:r>
                    </a:p>
                  </a:txBody>
                  <a:tcPr marL="38192" marR="38192" marT="0" marB="0"/>
                </a:tc>
                <a:extLst>
                  <a:ext uri="{0D108BD9-81ED-4DB2-BD59-A6C34878D82A}">
                    <a16:rowId xmlns:a16="http://schemas.microsoft.com/office/drawing/2014/main" val="10529195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703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71"/>
    </mc:Choice>
    <mc:Fallback xmlns="">
      <p:transition spd="slow" advTm="47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84EB8F-9D02-3949-B59D-F51714709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9508A-D701-494D-BCD4-C3CB297A4C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2200" dirty="0">
                <a:solidFill>
                  <a:schemeClr val="bg2">
                    <a:lumMod val="10000"/>
                  </a:schemeClr>
                </a:solidFill>
              </a:rPr>
              <a:t>Research in context of the BioRist project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de-DE" sz="2200" dirty="0">
                <a:solidFill>
                  <a:schemeClr val="bg2">
                    <a:lumMod val="10000"/>
                  </a:schemeClr>
                </a:solidFill>
              </a:rPr>
              <a:t> Pre-step for current research regarding optimization of biogas plant using water hyacinths and rice straw</a:t>
            </a:r>
          </a:p>
          <a:p>
            <a:pPr marL="539750" lvl="1" indent="0">
              <a:lnSpc>
                <a:spcPct val="100000"/>
              </a:lnSpc>
              <a:buNone/>
            </a:pPr>
            <a:endParaRPr lang="en-US" altLang="de-DE" sz="2200" dirty="0">
              <a:solidFill>
                <a:schemeClr val="bg2">
                  <a:lumMod val="10000"/>
                </a:schemeClr>
              </a:solidFill>
            </a:endParaRPr>
          </a:p>
          <a:p>
            <a:pPr>
              <a:lnSpc>
                <a:spcPct val="100000"/>
              </a:lnSpc>
              <a:buFont typeface="Wingdings" pitchFamily="2" charset="2"/>
              <a:buChar char="Ø"/>
            </a:pPr>
            <a:r>
              <a:rPr lang="en-US" altLang="de-DE" sz="2200" dirty="0">
                <a:solidFill>
                  <a:schemeClr val="bg2">
                    <a:lumMod val="10000"/>
                  </a:schemeClr>
                </a:solidFill>
              </a:rPr>
              <a:t> Biogas potential of the inoculum on its own</a:t>
            </a:r>
          </a:p>
          <a:p>
            <a:pPr>
              <a:lnSpc>
                <a:spcPct val="100000"/>
              </a:lnSpc>
              <a:buFont typeface="Wingdings" pitchFamily="2" charset="2"/>
              <a:buChar char="Ø"/>
            </a:pPr>
            <a:r>
              <a:rPr lang="en-US" altLang="de-DE" sz="2200" dirty="0">
                <a:solidFill>
                  <a:schemeClr val="bg2">
                    <a:lumMod val="10000"/>
                  </a:schemeClr>
                </a:solidFill>
              </a:rPr>
              <a:t> Investigation of pre-incubation period under varying conditions</a:t>
            </a:r>
          </a:p>
          <a:p>
            <a:pPr marL="0" indent="0">
              <a:buNone/>
            </a:pPr>
            <a:endParaRPr lang="en-US" sz="22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14692F-500C-4E45-B6F8-D2198D4EAE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56BC67-3E78-A64F-9960-B91597C74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9933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83"/>
    </mc:Choice>
    <mc:Fallback xmlns="">
      <p:transition spd="slow" advTm="283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695116-A7CC-6F45-8265-475A31D60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Introduction – Inocul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D56DCD-64B1-CD49-BEAE-9F016C696A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8E9D2B-8BCB-9E4D-9295-75693E1359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4</a:t>
            </a:fld>
            <a:endParaRPr lang="de-DE" altLang="de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108765-99A9-A249-B6BE-6638D0CE0E4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72" y="2040645"/>
            <a:ext cx="1778608" cy="17786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58569CB-3D17-4A4A-9748-2BA8160BDAE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027" y="2082440"/>
            <a:ext cx="1778608" cy="177860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6EC0030-4F6B-8D43-A3D5-F6E2F692D1E6}"/>
              </a:ext>
            </a:extLst>
          </p:cNvPr>
          <p:cNvSpPr txBox="1"/>
          <p:nvPr/>
        </p:nvSpPr>
        <p:spPr>
          <a:xfrm>
            <a:off x="3191919" y="1476765"/>
            <a:ext cx="2571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de-DE" sz="2000" b="1" dirty="0">
                <a:latin typeface="Calibri" panose="020F0502020204030204" pitchFamily="34" charset="0"/>
                <a:cs typeface="Calibri" panose="020F0502020204030204" pitchFamily="34" charset="0"/>
              </a:rPr>
              <a:t>Cow man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ADFDC4-8194-634E-9E6E-443BCB201E57}"/>
              </a:ext>
            </a:extLst>
          </p:cNvPr>
          <p:cNvSpPr txBox="1"/>
          <p:nvPr/>
        </p:nvSpPr>
        <p:spPr>
          <a:xfrm>
            <a:off x="285330" y="1473608"/>
            <a:ext cx="28600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de-DE" sz="2000" b="1" dirty="0">
                <a:latin typeface="Calibri" panose="020F0502020204030204" pitchFamily="34" charset="0"/>
                <a:cs typeface="Calibri" panose="020F0502020204030204" pitchFamily="34" charset="0"/>
              </a:rPr>
              <a:t>Sewage slud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F48B3C2-C2D8-A94F-8EF6-4808E6F78CDF}"/>
              </a:ext>
            </a:extLst>
          </p:cNvPr>
          <p:cNvSpPr txBox="1"/>
          <p:nvPr/>
        </p:nvSpPr>
        <p:spPr>
          <a:xfrm>
            <a:off x="5930322" y="1482424"/>
            <a:ext cx="2846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de-DE" sz="2000" b="1" dirty="0">
                <a:latin typeface="Calibri" panose="020F0502020204030204" pitchFamily="34" charset="0"/>
                <a:cs typeface="Calibri" panose="020F0502020204030204" pitchFamily="34" charset="0"/>
              </a:rPr>
              <a:t>Fermentation residu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11CA58-98E0-F14B-98F1-596FBEA15DC1}"/>
              </a:ext>
            </a:extLst>
          </p:cNvPr>
          <p:cNvSpPr txBox="1"/>
          <p:nvPr/>
        </p:nvSpPr>
        <p:spPr>
          <a:xfrm>
            <a:off x="962410" y="4383133"/>
            <a:ext cx="1502468" cy="705607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Fresh and store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C8A9D6-F6AC-C240-AAA1-5235F41FF9F8}"/>
              </a:ext>
            </a:extLst>
          </p:cNvPr>
          <p:cNvSpPr txBox="1"/>
          <p:nvPr/>
        </p:nvSpPr>
        <p:spPr>
          <a:xfrm>
            <a:off x="3541304" y="4383133"/>
            <a:ext cx="1872708" cy="707886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Screened and unscreene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7301FC1-BFCF-414F-B236-9ABCC984A4EC}"/>
              </a:ext>
            </a:extLst>
          </p:cNvPr>
          <p:cNvSpPr txBox="1"/>
          <p:nvPr/>
        </p:nvSpPr>
        <p:spPr>
          <a:xfrm>
            <a:off x="6490438" y="4383133"/>
            <a:ext cx="1725931" cy="707886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Stirred and unstirr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A26DC2-3FEA-584C-BCB5-8E352CD2BEE4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alphaModFix amt="92000"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5772"/>
                    </a14:imgEffect>
                    <a14:imgEffect>
                      <a14:saturation sat="66000"/>
                    </a14:imgEffect>
                    <a14:imgEffect>
                      <a14:brightnessContrast bright="91000" contrast="-4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3263" y="2191604"/>
            <a:ext cx="1560279" cy="1560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15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949"/>
    </mc:Choice>
    <mc:Fallback xmlns="">
      <p:transition spd="slow" advTm="26949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824D7-8D81-7E4D-A559-F3D17A6455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Objectiv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69C2DD-7834-5743-9FC3-9E9ABFB48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41CCC9-7B3F-254F-A178-526701B0E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5</a:t>
            </a:fld>
            <a:endParaRPr lang="de-DE" altLang="de-DE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C7A545D8-C774-944D-8952-6F7C49F907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2325" y="1102589"/>
            <a:ext cx="7813675" cy="5184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90488" indent="-9048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1325" lvl="1" indent="0">
              <a:lnSpc>
                <a:spcPct val="100000"/>
              </a:lnSpc>
              <a:buFont typeface="Calibri" panose="020F0502020204030204" pitchFamily="34" charset="0"/>
              <a:buNone/>
            </a:pPr>
            <a:r>
              <a:rPr lang="en-US" altLang="de-DE" sz="2400" b="1" dirty="0">
                <a:solidFill>
                  <a:schemeClr val="bg2">
                    <a:lumMod val="10000"/>
                  </a:schemeClr>
                </a:solidFill>
              </a:rPr>
              <a:t>Compare </a:t>
            </a:r>
            <a:r>
              <a:rPr lang="en-US" altLang="de-DE" sz="2400" dirty="0">
                <a:solidFill>
                  <a:schemeClr val="bg2">
                    <a:lumMod val="10000"/>
                  </a:schemeClr>
                </a:solidFill>
              </a:rPr>
              <a:t>residual gas-formation potential of sewage sludge, fermentation residues, and cow manure</a:t>
            </a:r>
          </a:p>
          <a:p>
            <a:pPr marL="78422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de-DE" sz="2400" dirty="0">
                <a:solidFill>
                  <a:schemeClr val="bg2">
                    <a:lumMod val="10000"/>
                  </a:schemeClr>
                </a:solidFill>
              </a:rPr>
              <a:t>During an incubation period of two weeks</a:t>
            </a:r>
          </a:p>
          <a:p>
            <a:pPr lvl="3" indent="-342900">
              <a:lnSpc>
                <a:spcPct val="100000"/>
              </a:lnSpc>
              <a:buFont typeface="Wingdings" pitchFamily="2" charset="2"/>
              <a:buChar char="Ø"/>
            </a:pPr>
            <a:r>
              <a:rPr lang="en-US" altLang="de-DE" sz="2400" dirty="0">
                <a:solidFill>
                  <a:schemeClr val="bg2">
                    <a:lumMod val="10000"/>
                  </a:schemeClr>
                </a:solidFill>
              </a:rPr>
              <a:t>Calculate the norm liters in regards to available organics</a:t>
            </a:r>
          </a:p>
          <a:p>
            <a:pPr marL="441325" lvl="1" indent="0">
              <a:lnSpc>
                <a:spcPct val="100000"/>
              </a:lnSpc>
              <a:buFont typeface="Calibri" panose="020F0502020204030204" pitchFamily="34" charset="0"/>
              <a:buNone/>
            </a:pPr>
            <a:endParaRPr lang="en-US" altLang="de-DE" sz="500" dirty="0">
              <a:solidFill>
                <a:schemeClr val="bg2">
                  <a:lumMod val="10000"/>
                </a:schemeClr>
              </a:solidFill>
            </a:endParaRPr>
          </a:p>
          <a:p>
            <a:pPr marL="441325" lvl="1" indent="0">
              <a:lnSpc>
                <a:spcPct val="100000"/>
              </a:lnSpc>
              <a:buFont typeface="Calibri" panose="020F0502020204030204" pitchFamily="34" charset="0"/>
              <a:buNone/>
            </a:pPr>
            <a:r>
              <a:rPr lang="en-US" altLang="de-DE" sz="2400" b="1" dirty="0">
                <a:solidFill>
                  <a:schemeClr val="bg2">
                    <a:lumMod val="10000"/>
                  </a:schemeClr>
                </a:solidFill>
              </a:rPr>
              <a:t>Investigate</a:t>
            </a:r>
            <a:r>
              <a:rPr lang="en-US" altLang="de-DE" sz="2400" dirty="0">
                <a:solidFill>
                  <a:schemeClr val="bg2">
                    <a:lumMod val="10000"/>
                  </a:schemeClr>
                </a:solidFill>
              </a:rPr>
              <a:t> the effects of varying pre-treatment and process options</a:t>
            </a:r>
          </a:p>
          <a:p>
            <a:pPr marL="441325" lvl="1" indent="0">
              <a:lnSpc>
                <a:spcPct val="100000"/>
              </a:lnSpc>
              <a:buFont typeface="Calibri" panose="020F0502020204030204" pitchFamily="34" charset="0"/>
              <a:buNone/>
            </a:pPr>
            <a:endParaRPr lang="en-US" altLang="de-DE" sz="500" dirty="0">
              <a:solidFill>
                <a:schemeClr val="bg2">
                  <a:lumMod val="10000"/>
                </a:schemeClr>
              </a:solidFill>
            </a:endParaRPr>
          </a:p>
          <a:p>
            <a:pPr marL="441325" lvl="1" indent="0">
              <a:lnSpc>
                <a:spcPct val="100000"/>
              </a:lnSpc>
              <a:buFont typeface="Calibri" panose="020F0502020204030204" pitchFamily="34" charset="0"/>
              <a:buNone/>
            </a:pPr>
            <a:r>
              <a:rPr lang="en-US" altLang="de-DE" sz="2400" b="1" dirty="0">
                <a:solidFill>
                  <a:schemeClr val="bg2">
                    <a:lumMod val="10000"/>
                  </a:schemeClr>
                </a:solidFill>
              </a:rPr>
              <a:t>Create</a:t>
            </a:r>
            <a:r>
              <a:rPr lang="en-US" altLang="de-DE" sz="2400" dirty="0">
                <a:solidFill>
                  <a:schemeClr val="bg2">
                    <a:lumMod val="10000"/>
                  </a:schemeClr>
                </a:solidFill>
              </a:rPr>
              <a:t> a guideline on how to implement this type of experiment in the institute’s laboratory</a:t>
            </a:r>
          </a:p>
          <a:p>
            <a:pPr lvl="2">
              <a:lnSpc>
                <a:spcPct val="100000"/>
              </a:lnSpc>
              <a:buFont typeface="Wingdings" pitchFamily="2" charset="2"/>
              <a:buChar char="Ø"/>
            </a:pPr>
            <a:r>
              <a:rPr lang="en-US" altLang="de-DE" sz="2400" dirty="0">
                <a:solidFill>
                  <a:schemeClr val="bg2">
                    <a:lumMod val="10000"/>
                  </a:schemeClr>
                </a:solidFill>
              </a:rPr>
              <a:t> Based on the VDI 4630</a:t>
            </a:r>
          </a:p>
          <a:p>
            <a:pPr marL="539750" lvl="1" indent="0">
              <a:lnSpc>
                <a:spcPct val="100000"/>
              </a:lnSpc>
              <a:buFont typeface="Calibri" panose="020F0502020204030204" pitchFamily="34" charset="0"/>
              <a:buNone/>
            </a:pPr>
            <a:endParaRPr lang="en-US" altLang="de-DE" sz="500" dirty="0">
              <a:solidFill>
                <a:schemeClr val="bg2">
                  <a:lumMod val="10000"/>
                </a:schemeClr>
              </a:solidFill>
            </a:endParaRPr>
          </a:p>
          <a:p>
            <a:pPr marL="441325" lvl="1" indent="0">
              <a:lnSpc>
                <a:spcPct val="100000"/>
              </a:lnSpc>
              <a:buFont typeface="Calibri" panose="020F0502020204030204" pitchFamily="34" charset="0"/>
              <a:buNone/>
            </a:pPr>
            <a:r>
              <a:rPr lang="en-US" altLang="de-DE" sz="2400" dirty="0">
                <a:solidFill>
                  <a:schemeClr val="bg2">
                    <a:lumMod val="10000"/>
                  </a:schemeClr>
                </a:solidFill>
              </a:rPr>
              <a:t>Include a thorough error analysi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68484C6-E4AE-2E47-8E3F-60AF52E891E1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4077072"/>
            <a:ext cx="495300" cy="4953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F636C91-47FB-224A-8C0E-33A85AC8841C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saturation sat="29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3068960"/>
            <a:ext cx="495300" cy="495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D6493E5-E4A3-F047-B8C0-AD1EF6CF2A6E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196752"/>
            <a:ext cx="495300" cy="4953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DF4CAA9-2DC4-DF42-9AEC-C430FEB7CE34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67544" y="5301208"/>
            <a:ext cx="495300" cy="49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012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9830"/>
    </mc:Choice>
    <mc:Fallback xmlns="">
      <p:transition spd="slow" advTm="5983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AEB41F7-4888-DB49-89D3-0C1F5413D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Hypothes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46E4D5-A40E-D341-AF7F-207FCD2AB4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2325" y="1412776"/>
            <a:ext cx="7543800" cy="4022725"/>
          </a:xfrm>
        </p:spPr>
        <p:txBody>
          <a:bodyPr/>
          <a:lstStyle/>
          <a:p>
            <a:pPr marL="457200" lvl="0" indent="-457200">
              <a:buFont typeface="+mj-lt"/>
              <a:buAutoNum type="arabicPeriod"/>
            </a:pPr>
            <a:r>
              <a:rPr lang="en-US" sz="2400" b="1" dirty="0">
                <a:solidFill>
                  <a:schemeClr val="bg2">
                    <a:lumMod val="10000"/>
                  </a:schemeClr>
                </a:solidFill>
              </a:rPr>
              <a:t>Logistic Biological Activity </a:t>
            </a: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[1]</a:t>
            </a:r>
          </a:p>
          <a:p>
            <a:pPr marL="0" lvl="0" indent="0">
              <a:buNone/>
            </a:pPr>
            <a:endParaRPr lang="en-US" sz="2400" dirty="0">
              <a:solidFill>
                <a:schemeClr val="bg2">
                  <a:lumMod val="10000"/>
                </a:schemeClr>
              </a:solidFill>
            </a:endParaRPr>
          </a:p>
          <a:p>
            <a:pPr marL="0" lvl="0" indent="0">
              <a:buNone/>
            </a:pPr>
            <a:endParaRPr lang="en-US" sz="2400" dirty="0">
              <a:solidFill>
                <a:schemeClr val="bg2">
                  <a:lumMod val="10000"/>
                </a:schemeClr>
              </a:solidFill>
            </a:endParaRPr>
          </a:p>
          <a:p>
            <a:pPr marL="0" lvl="0" indent="0">
              <a:buNone/>
            </a:pPr>
            <a:endParaRPr lang="en-US" sz="2400" dirty="0">
              <a:solidFill>
                <a:schemeClr val="bg2">
                  <a:lumMod val="10000"/>
                </a:schemeClr>
              </a:solidFill>
            </a:endParaRPr>
          </a:p>
          <a:p>
            <a:pPr marL="457200" lvl="0" indent="-457200">
              <a:buFont typeface="+mj-lt"/>
              <a:buAutoNum type="arabicPeriod" startAt="2"/>
            </a:pPr>
            <a:r>
              <a:rPr lang="en-US" sz="2400" b="1" dirty="0">
                <a:solidFill>
                  <a:schemeClr val="bg2">
                    <a:lumMod val="10000"/>
                  </a:schemeClr>
                </a:solidFill>
              </a:rPr>
              <a:t>Minimal Effect of Storage</a:t>
            </a: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 [2]</a:t>
            </a:r>
          </a:p>
          <a:p>
            <a:pPr marL="457200" lvl="0" indent="-457200">
              <a:buFont typeface="+mj-lt"/>
              <a:buAutoNum type="arabicPeriod" startAt="2"/>
            </a:pPr>
            <a:r>
              <a:rPr lang="en-US" sz="2400" b="1" dirty="0">
                <a:solidFill>
                  <a:schemeClr val="bg2">
                    <a:lumMod val="10000"/>
                  </a:schemeClr>
                </a:solidFill>
              </a:rPr>
              <a:t>Screening Increases Gas Yield </a:t>
            </a: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[3]</a:t>
            </a:r>
          </a:p>
          <a:p>
            <a:pPr marL="457200" lvl="0" indent="-457200">
              <a:buFont typeface="+mj-lt"/>
              <a:buAutoNum type="arabicPeriod" startAt="2"/>
            </a:pPr>
            <a:r>
              <a:rPr lang="en-US" sz="2400" b="1" dirty="0">
                <a:solidFill>
                  <a:schemeClr val="bg2">
                    <a:lumMod val="10000"/>
                  </a:schemeClr>
                </a:solidFill>
              </a:rPr>
              <a:t>Little Effect of Not-Stirring</a:t>
            </a:r>
            <a:r>
              <a:rPr lang="en-US" sz="2400" dirty="0">
                <a:solidFill>
                  <a:schemeClr val="bg2">
                    <a:lumMod val="10000"/>
                  </a:schemeClr>
                </a:solidFill>
              </a:rPr>
              <a:t> [4; 5; 6]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0D1C20-A865-FC48-8599-0BD110D96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eite </a:t>
            </a:r>
            <a:fld id="{4228DB90-0B3C-5442-B250-A9CF2D2F3EF5}" type="slidenum">
              <a:rPr lang="de-DE" altLang="de-DE" smtClean="0"/>
              <a:pPr>
                <a:defRPr/>
              </a:pPr>
              <a:t>6</a:t>
            </a:fld>
            <a:endParaRPr lang="de-DE" altLang="de-DE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2EA87D2-7024-6D45-9BB6-C989CB8CDDA0}"/>
              </a:ext>
            </a:extLst>
          </p:cNvPr>
          <p:cNvGrpSpPr/>
          <p:nvPr/>
        </p:nvGrpSpPr>
        <p:grpSpPr>
          <a:xfrm>
            <a:off x="5137616" y="1412776"/>
            <a:ext cx="2962776" cy="2016224"/>
            <a:chOff x="5137616" y="1412776"/>
            <a:chExt cx="2962776" cy="201622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5031D60-F13A-B745-AD0E-96A360CD575C}"/>
                </a:ext>
              </a:extLst>
            </p:cNvPr>
            <p:cNvSpPr txBox="1"/>
            <p:nvPr/>
          </p:nvSpPr>
          <p:spPr>
            <a:xfrm>
              <a:off x="5137616" y="1412776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/>
                <a:t>p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C19C68E-92C3-6F42-A638-AB0C5E485133}"/>
                </a:ext>
              </a:extLst>
            </p:cNvPr>
            <p:cNvSpPr txBox="1"/>
            <p:nvPr/>
          </p:nvSpPr>
          <p:spPr>
            <a:xfrm>
              <a:off x="7786010" y="3090446"/>
              <a:ext cx="24237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/>
                <a:t>t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335627D-028A-AC48-824C-91CEDDB7D051}"/>
                </a:ext>
              </a:extLst>
            </p:cNvPr>
            <p:cNvGrpSpPr/>
            <p:nvPr/>
          </p:nvGrpSpPr>
          <p:grpSpPr>
            <a:xfrm>
              <a:off x="5481908" y="1412776"/>
              <a:ext cx="2618484" cy="1629366"/>
              <a:chOff x="5481908" y="1412776"/>
              <a:chExt cx="2618484" cy="1629366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27E013E5-EB61-F44D-BF77-2D9BE70A1D2B}"/>
                  </a:ext>
                </a:extLst>
              </p:cNvPr>
              <p:cNvGrpSpPr/>
              <p:nvPr/>
            </p:nvGrpSpPr>
            <p:grpSpPr>
              <a:xfrm>
                <a:off x="5481908" y="1412776"/>
                <a:ext cx="2618484" cy="1629366"/>
                <a:chOff x="971600" y="1196752"/>
                <a:chExt cx="7272808" cy="4608512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A3BE8C8D-2059-F54D-971F-CB36BBA93424}"/>
                    </a:ext>
                  </a:extLst>
                </p:cNvPr>
                <p:cNvCxnSpPr/>
                <p:nvPr/>
              </p:nvCxnSpPr>
              <p:spPr bwMode="auto">
                <a:xfrm>
                  <a:off x="971600" y="1196752"/>
                  <a:ext cx="0" cy="4608512"/>
                </a:xfrm>
                <a:prstGeom prst="line">
                  <a:avLst/>
                </a:prstGeom>
                <a:solidFill>
                  <a:schemeClr val="tx2"/>
                </a:solidFill>
                <a:ln w="22225" cap="flat" cmpd="sng" algn="ctr">
                  <a:solidFill>
                    <a:schemeClr val="accent1"/>
                  </a:solidFill>
                  <a:prstDash val="solid"/>
                  <a:round/>
                  <a:headEnd type="arrow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2ECE2679-C121-0A46-99DF-00A9025DB73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H="1">
                  <a:off x="971600" y="5805264"/>
                  <a:ext cx="7272808" cy="0"/>
                </a:xfrm>
                <a:prstGeom prst="line">
                  <a:avLst/>
                </a:prstGeom>
                <a:solidFill>
                  <a:schemeClr val="tx2"/>
                </a:solidFill>
                <a:ln w="22225" cap="flat" cmpd="sng" algn="ctr">
                  <a:solidFill>
                    <a:schemeClr val="accent1"/>
                  </a:solidFill>
                  <a:prstDash val="solid"/>
                  <a:round/>
                  <a:headEnd type="arrow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3" name="Freeform 2">
                <a:extLst>
                  <a:ext uri="{FF2B5EF4-FFF2-40B4-BE49-F238E27FC236}">
                    <a16:creationId xmlns:a16="http://schemas.microsoft.com/office/drawing/2014/main" id="{C3A94503-CBA0-3941-975F-1175B8030DBD}"/>
                  </a:ext>
                </a:extLst>
              </p:cNvPr>
              <p:cNvSpPr/>
              <p:nvPr/>
            </p:nvSpPr>
            <p:spPr>
              <a:xfrm>
                <a:off x="5486400" y="1620371"/>
                <a:ext cx="2518122" cy="1418664"/>
              </a:xfrm>
              <a:custGeom>
                <a:avLst/>
                <a:gdLst>
                  <a:gd name="connsiteX0" fmla="*/ 0 w 2070847"/>
                  <a:gd name="connsiteY0" fmla="*/ 1418664 h 1418664"/>
                  <a:gd name="connsiteX1" fmla="*/ 47065 w 2070847"/>
                  <a:gd name="connsiteY1" fmla="*/ 1411941 h 1418664"/>
                  <a:gd name="connsiteX2" fmla="*/ 114300 w 2070847"/>
                  <a:gd name="connsiteY2" fmla="*/ 1385047 h 1418664"/>
                  <a:gd name="connsiteX3" fmla="*/ 154641 w 2070847"/>
                  <a:gd name="connsiteY3" fmla="*/ 1371600 h 1418664"/>
                  <a:gd name="connsiteX4" fmla="*/ 174812 w 2070847"/>
                  <a:gd name="connsiteY4" fmla="*/ 1364876 h 1418664"/>
                  <a:gd name="connsiteX5" fmla="*/ 215153 w 2070847"/>
                  <a:gd name="connsiteY5" fmla="*/ 1344705 h 1418664"/>
                  <a:gd name="connsiteX6" fmla="*/ 235324 w 2070847"/>
                  <a:gd name="connsiteY6" fmla="*/ 1331258 h 1418664"/>
                  <a:gd name="connsiteX7" fmla="*/ 275665 w 2070847"/>
                  <a:gd name="connsiteY7" fmla="*/ 1317811 h 1418664"/>
                  <a:gd name="connsiteX8" fmla="*/ 295835 w 2070847"/>
                  <a:gd name="connsiteY8" fmla="*/ 1311088 h 1418664"/>
                  <a:gd name="connsiteX9" fmla="*/ 322729 w 2070847"/>
                  <a:gd name="connsiteY9" fmla="*/ 1297641 h 1418664"/>
                  <a:gd name="connsiteX10" fmla="*/ 363071 w 2070847"/>
                  <a:gd name="connsiteY10" fmla="*/ 1284194 h 1418664"/>
                  <a:gd name="connsiteX11" fmla="*/ 383241 w 2070847"/>
                  <a:gd name="connsiteY11" fmla="*/ 1277470 h 1418664"/>
                  <a:gd name="connsiteX12" fmla="*/ 423582 w 2070847"/>
                  <a:gd name="connsiteY12" fmla="*/ 1257300 h 1418664"/>
                  <a:gd name="connsiteX13" fmla="*/ 484094 w 2070847"/>
                  <a:gd name="connsiteY13" fmla="*/ 1216958 h 1418664"/>
                  <a:gd name="connsiteX14" fmla="*/ 504265 w 2070847"/>
                  <a:gd name="connsiteY14" fmla="*/ 1203511 h 1418664"/>
                  <a:gd name="connsiteX15" fmla="*/ 524435 w 2070847"/>
                  <a:gd name="connsiteY15" fmla="*/ 1183341 h 1418664"/>
                  <a:gd name="connsiteX16" fmla="*/ 564776 w 2070847"/>
                  <a:gd name="connsiteY16" fmla="*/ 1149723 h 1418664"/>
                  <a:gd name="connsiteX17" fmla="*/ 591671 w 2070847"/>
                  <a:gd name="connsiteY17" fmla="*/ 1109382 h 1418664"/>
                  <a:gd name="connsiteX18" fmla="*/ 632012 w 2070847"/>
                  <a:gd name="connsiteY18" fmla="*/ 1048870 h 1418664"/>
                  <a:gd name="connsiteX19" fmla="*/ 645459 w 2070847"/>
                  <a:gd name="connsiteY19" fmla="*/ 1028700 h 1418664"/>
                  <a:gd name="connsiteX20" fmla="*/ 658906 w 2070847"/>
                  <a:gd name="connsiteY20" fmla="*/ 1008529 h 1418664"/>
                  <a:gd name="connsiteX21" fmla="*/ 665629 w 2070847"/>
                  <a:gd name="connsiteY21" fmla="*/ 988358 h 1418664"/>
                  <a:gd name="connsiteX22" fmla="*/ 679076 w 2070847"/>
                  <a:gd name="connsiteY22" fmla="*/ 968188 h 1418664"/>
                  <a:gd name="connsiteX23" fmla="*/ 692524 w 2070847"/>
                  <a:gd name="connsiteY23" fmla="*/ 941294 h 1418664"/>
                  <a:gd name="connsiteX24" fmla="*/ 705971 w 2070847"/>
                  <a:gd name="connsiteY24" fmla="*/ 894229 h 1418664"/>
                  <a:gd name="connsiteX25" fmla="*/ 719418 w 2070847"/>
                  <a:gd name="connsiteY25" fmla="*/ 874058 h 1418664"/>
                  <a:gd name="connsiteX26" fmla="*/ 732865 w 2070847"/>
                  <a:gd name="connsiteY26" fmla="*/ 820270 h 1418664"/>
                  <a:gd name="connsiteX27" fmla="*/ 739588 w 2070847"/>
                  <a:gd name="connsiteY27" fmla="*/ 800100 h 1418664"/>
                  <a:gd name="connsiteX28" fmla="*/ 746312 w 2070847"/>
                  <a:gd name="connsiteY28" fmla="*/ 773205 h 1418664"/>
                  <a:gd name="connsiteX29" fmla="*/ 753035 w 2070847"/>
                  <a:gd name="connsiteY29" fmla="*/ 753035 h 1418664"/>
                  <a:gd name="connsiteX30" fmla="*/ 759759 w 2070847"/>
                  <a:gd name="connsiteY30" fmla="*/ 726141 h 1418664"/>
                  <a:gd name="connsiteX31" fmla="*/ 766482 w 2070847"/>
                  <a:gd name="connsiteY31" fmla="*/ 705970 h 1418664"/>
                  <a:gd name="connsiteX32" fmla="*/ 779929 w 2070847"/>
                  <a:gd name="connsiteY32" fmla="*/ 652182 h 1418664"/>
                  <a:gd name="connsiteX33" fmla="*/ 786653 w 2070847"/>
                  <a:gd name="connsiteY33" fmla="*/ 632011 h 1418664"/>
                  <a:gd name="connsiteX34" fmla="*/ 800100 w 2070847"/>
                  <a:gd name="connsiteY34" fmla="*/ 578223 h 1418664"/>
                  <a:gd name="connsiteX35" fmla="*/ 813547 w 2070847"/>
                  <a:gd name="connsiteY35" fmla="*/ 531158 h 1418664"/>
                  <a:gd name="connsiteX36" fmla="*/ 820271 w 2070847"/>
                  <a:gd name="connsiteY36" fmla="*/ 510988 h 1418664"/>
                  <a:gd name="connsiteX37" fmla="*/ 833718 w 2070847"/>
                  <a:gd name="connsiteY37" fmla="*/ 457200 h 1418664"/>
                  <a:gd name="connsiteX38" fmla="*/ 853888 w 2070847"/>
                  <a:gd name="connsiteY38" fmla="*/ 376517 h 1418664"/>
                  <a:gd name="connsiteX39" fmla="*/ 860612 w 2070847"/>
                  <a:gd name="connsiteY39" fmla="*/ 356347 h 1418664"/>
                  <a:gd name="connsiteX40" fmla="*/ 867335 w 2070847"/>
                  <a:gd name="connsiteY40" fmla="*/ 336176 h 1418664"/>
                  <a:gd name="connsiteX41" fmla="*/ 900953 w 2070847"/>
                  <a:gd name="connsiteY41" fmla="*/ 295835 h 1418664"/>
                  <a:gd name="connsiteX42" fmla="*/ 927847 w 2070847"/>
                  <a:gd name="connsiteY42" fmla="*/ 255494 h 1418664"/>
                  <a:gd name="connsiteX43" fmla="*/ 954741 w 2070847"/>
                  <a:gd name="connsiteY43" fmla="*/ 235323 h 1418664"/>
                  <a:gd name="connsiteX44" fmla="*/ 988359 w 2070847"/>
                  <a:gd name="connsiteY44" fmla="*/ 201705 h 1418664"/>
                  <a:gd name="connsiteX45" fmla="*/ 1015253 w 2070847"/>
                  <a:gd name="connsiteY45" fmla="*/ 181535 h 1418664"/>
                  <a:gd name="connsiteX46" fmla="*/ 1055594 w 2070847"/>
                  <a:gd name="connsiteY46" fmla="*/ 154641 h 1418664"/>
                  <a:gd name="connsiteX47" fmla="*/ 1095935 w 2070847"/>
                  <a:gd name="connsiteY47" fmla="*/ 127747 h 1418664"/>
                  <a:gd name="connsiteX48" fmla="*/ 1163171 w 2070847"/>
                  <a:gd name="connsiteY48" fmla="*/ 107576 h 1418664"/>
                  <a:gd name="connsiteX49" fmla="*/ 1183341 w 2070847"/>
                  <a:gd name="connsiteY49" fmla="*/ 100853 h 1418664"/>
                  <a:gd name="connsiteX50" fmla="*/ 1223682 w 2070847"/>
                  <a:gd name="connsiteY50" fmla="*/ 94129 h 1418664"/>
                  <a:gd name="connsiteX51" fmla="*/ 1257300 w 2070847"/>
                  <a:gd name="connsiteY51" fmla="*/ 87405 h 1418664"/>
                  <a:gd name="connsiteX52" fmla="*/ 1311088 w 2070847"/>
                  <a:gd name="connsiteY52" fmla="*/ 80682 h 1418664"/>
                  <a:gd name="connsiteX53" fmla="*/ 1378324 w 2070847"/>
                  <a:gd name="connsiteY53" fmla="*/ 67235 h 1418664"/>
                  <a:gd name="connsiteX54" fmla="*/ 1405218 w 2070847"/>
                  <a:gd name="connsiteY54" fmla="*/ 60511 h 1418664"/>
                  <a:gd name="connsiteX55" fmla="*/ 1492624 w 2070847"/>
                  <a:gd name="connsiteY55" fmla="*/ 47064 h 1418664"/>
                  <a:gd name="connsiteX56" fmla="*/ 1519518 w 2070847"/>
                  <a:gd name="connsiteY56" fmla="*/ 40341 h 1418664"/>
                  <a:gd name="connsiteX57" fmla="*/ 1862418 w 2070847"/>
                  <a:gd name="connsiteY57" fmla="*/ 26894 h 1418664"/>
                  <a:gd name="connsiteX58" fmla="*/ 2003612 w 2070847"/>
                  <a:gd name="connsiteY58" fmla="*/ 13447 h 1418664"/>
                  <a:gd name="connsiteX59" fmla="*/ 2070847 w 2070847"/>
                  <a:gd name="connsiteY59" fmla="*/ 0 h 1418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2070847" h="1418664">
                    <a:moveTo>
                      <a:pt x="0" y="1418664"/>
                    </a:moveTo>
                    <a:cubicBezTo>
                      <a:pt x="15688" y="1416423"/>
                      <a:pt x="31623" y="1415504"/>
                      <a:pt x="47065" y="1411941"/>
                    </a:cubicBezTo>
                    <a:cubicBezTo>
                      <a:pt x="99770" y="1399779"/>
                      <a:pt x="72709" y="1401683"/>
                      <a:pt x="114300" y="1385047"/>
                    </a:cubicBezTo>
                    <a:cubicBezTo>
                      <a:pt x="127461" y="1379783"/>
                      <a:pt x="141194" y="1376082"/>
                      <a:pt x="154641" y="1371600"/>
                    </a:cubicBezTo>
                    <a:cubicBezTo>
                      <a:pt x="161365" y="1369359"/>
                      <a:pt x="168915" y="1368807"/>
                      <a:pt x="174812" y="1364876"/>
                    </a:cubicBezTo>
                    <a:cubicBezTo>
                      <a:pt x="232610" y="1326343"/>
                      <a:pt x="159485" y="1372539"/>
                      <a:pt x="215153" y="1344705"/>
                    </a:cubicBezTo>
                    <a:cubicBezTo>
                      <a:pt x="222381" y="1341091"/>
                      <a:pt x="227940" y="1334540"/>
                      <a:pt x="235324" y="1331258"/>
                    </a:cubicBezTo>
                    <a:cubicBezTo>
                      <a:pt x="248277" y="1325501"/>
                      <a:pt x="262218" y="1322293"/>
                      <a:pt x="275665" y="1317811"/>
                    </a:cubicBezTo>
                    <a:cubicBezTo>
                      <a:pt x="282388" y="1315570"/>
                      <a:pt x="289496" y="1314257"/>
                      <a:pt x="295835" y="1311088"/>
                    </a:cubicBezTo>
                    <a:cubicBezTo>
                      <a:pt x="304800" y="1306606"/>
                      <a:pt x="313423" y="1301363"/>
                      <a:pt x="322729" y="1297641"/>
                    </a:cubicBezTo>
                    <a:cubicBezTo>
                      <a:pt x="335890" y="1292377"/>
                      <a:pt x="349624" y="1288677"/>
                      <a:pt x="363071" y="1284194"/>
                    </a:cubicBezTo>
                    <a:cubicBezTo>
                      <a:pt x="369794" y="1281953"/>
                      <a:pt x="377344" y="1281401"/>
                      <a:pt x="383241" y="1277470"/>
                    </a:cubicBezTo>
                    <a:cubicBezTo>
                      <a:pt x="409309" y="1260092"/>
                      <a:pt x="395746" y="1266578"/>
                      <a:pt x="423582" y="1257300"/>
                    </a:cubicBezTo>
                    <a:lnTo>
                      <a:pt x="484094" y="1216958"/>
                    </a:lnTo>
                    <a:cubicBezTo>
                      <a:pt x="490818" y="1212476"/>
                      <a:pt x="498551" y="1209225"/>
                      <a:pt x="504265" y="1203511"/>
                    </a:cubicBezTo>
                    <a:cubicBezTo>
                      <a:pt x="510988" y="1196788"/>
                      <a:pt x="517131" y="1189428"/>
                      <a:pt x="524435" y="1183341"/>
                    </a:cubicBezTo>
                    <a:cubicBezTo>
                      <a:pt x="548974" y="1162892"/>
                      <a:pt x="543062" y="1177641"/>
                      <a:pt x="564776" y="1149723"/>
                    </a:cubicBezTo>
                    <a:cubicBezTo>
                      <a:pt x="574698" y="1136966"/>
                      <a:pt x="582706" y="1122829"/>
                      <a:pt x="591671" y="1109382"/>
                    </a:cubicBezTo>
                    <a:lnTo>
                      <a:pt x="632012" y="1048870"/>
                    </a:lnTo>
                    <a:lnTo>
                      <a:pt x="645459" y="1028700"/>
                    </a:lnTo>
                    <a:lnTo>
                      <a:pt x="658906" y="1008529"/>
                    </a:lnTo>
                    <a:cubicBezTo>
                      <a:pt x="661147" y="1001805"/>
                      <a:pt x="662460" y="994697"/>
                      <a:pt x="665629" y="988358"/>
                    </a:cubicBezTo>
                    <a:cubicBezTo>
                      <a:pt x="669243" y="981131"/>
                      <a:pt x="675067" y="975204"/>
                      <a:pt x="679076" y="968188"/>
                    </a:cubicBezTo>
                    <a:cubicBezTo>
                      <a:pt x="684049" y="959486"/>
                      <a:pt x="688041" y="950259"/>
                      <a:pt x="692524" y="941294"/>
                    </a:cubicBezTo>
                    <a:cubicBezTo>
                      <a:pt x="694679" y="932672"/>
                      <a:pt x="701146" y="903878"/>
                      <a:pt x="705971" y="894229"/>
                    </a:cubicBezTo>
                    <a:cubicBezTo>
                      <a:pt x="709585" y="887001"/>
                      <a:pt x="714936" y="880782"/>
                      <a:pt x="719418" y="874058"/>
                    </a:cubicBezTo>
                    <a:cubicBezTo>
                      <a:pt x="723900" y="856129"/>
                      <a:pt x="727021" y="837803"/>
                      <a:pt x="732865" y="820270"/>
                    </a:cubicBezTo>
                    <a:cubicBezTo>
                      <a:pt x="735106" y="813547"/>
                      <a:pt x="737641" y="806914"/>
                      <a:pt x="739588" y="800100"/>
                    </a:cubicBezTo>
                    <a:cubicBezTo>
                      <a:pt x="742127" y="791215"/>
                      <a:pt x="743773" y="782090"/>
                      <a:pt x="746312" y="773205"/>
                    </a:cubicBezTo>
                    <a:cubicBezTo>
                      <a:pt x="748259" y="766391"/>
                      <a:pt x="751088" y="759849"/>
                      <a:pt x="753035" y="753035"/>
                    </a:cubicBezTo>
                    <a:cubicBezTo>
                      <a:pt x="755574" y="744150"/>
                      <a:pt x="757220" y="735026"/>
                      <a:pt x="759759" y="726141"/>
                    </a:cubicBezTo>
                    <a:cubicBezTo>
                      <a:pt x="761706" y="719326"/>
                      <a:pt x="764617" y="712808"/>
                      <a:pt x="766482" y="705970"/>
                    </a:cubicBezTo>
                    <a:cubicBezTo>
                      <a:pt x="771345" y="688140"/>
                      <a:pt x="774084" y="669715"/>
                      <a:pt x="779929" y="652182"/>
                    </a:cubicBezTo>
                    <a:cubicBezTo>
                      <a:pt x="782170" y="645458"/>
                      <a:pt x="784788" y="638849"/>
                      <a:pt x="786653" y="632011"/>
                    </a:cubicBezTo>
                    <a:cubicBezTo>
                      <a:pt x="791516" y="614181"/>
                      <a:pt x="794255" y="595756"/>
                      <a:pt x="800100" y="578223"/>
                    </a:cubicBezTo>
                    <a:cubicBezTo>
                      <a:pt x="816222" y="529863"/>
                      <a:pt x="796662" y="590255"/>
                      <a:pt x="813547" y="531158"/>
                    </a:cubicBezTo>
                    <a:cubicBezTo>
                      <a:pt x="815494" y="524344"/>
                      <a:pt x="818552" y="517863"/>
                      <a:pt x="820271" y="510988"/>
                    </a:cubicBezTo>
                    <a:lnTo>
                      <a:pt x="833718" y="457200"/>
                    </a:lnTo>
                    <a:cubicBezTo>
                      <a:pt x="842770" y="402880"/>
                      <a:pt x="836131" y="429788"/>
                      <a:pt x="853888" y="376517"/>
                    </a:cubicBezTo>
                    <a:lnTo>
                      <a:pt x="860612" y="356347"/>
                    </a:lnTo>
                    <a:cubicBezTo>
                      <a:pt x="862853" y="349623"/>
                      <a:pt x="863404" y="342073"/>
                      <a:pt x="867335" y="336176"/>
                    </a:cubicBezTo>
                    <a:cubicBezTo>
                      <a:pt x="915382" y="264104"/>
                      <a:pt x="840561" y="373480"/>
                      <a:pt x="900953" y="295835"/>
                    </a:cubicBezTo>
                    <a:cubicBezTo>
                      <a:pt x="910875" y="283078"/>
                      <a:pt x="914918" y="265191"/>
                      <a:pt x="927847" y="255494"/>
                    </a:cubicBezTo>
                    <a:cubicBezTo>
                      <a:pt x="936812" y="248770"/>
                      <a:pt x="946366" y="242768"/>
                      <a:pt x="954741" y="235323"/>
                    </a:cubicBezTo>
                    <a:cubicBezTo>
                      <a:pt x="966586" y="224794"/>
                      <a:pt x="975681" y="211213"/>
                      <a:pt x="988359" y="201705"/>
                    </a:cubicBezTo>
                    <a:cubicBezTo>
                      <a:pt x="997324" y="194982"/>
                      <a:pt x="1006745" y="188828"/>
                      <a:pt x="1015253" y="181535"/>
                    </a:cubicBezTo>
                    <a:cubicBezTo>
                      <a:pt x="1047303" y="154063"/>
                      <a:pt x="1021284" y="166077"/>
                      <a:pt x="1055594" y="154641"/>
                    </a:cubicBezTo>
                    <a:cubicBezTo>
                      <a:pt x="1069041" y="145676"/>
                      <a:pt x="1080603" y="132858"/>
                      <a:pt x="1095935" y="127747"/>
                    </a:cubicBezTo>
                    <a:cubicBezTo>
                      <a:pt x="1191783" y="95798"/>
                      <a:pt x="1092053" y="127895"/>
                      <a:pt x="1163171" y="107576"/>
                    </a:cubicBezTo>
                    <a:cubicBezTo>
                      <a:pt x="1169985" y="105629"/>
                      <a:pt x="1176423" y="102390"/>
                      <a:pt x="1183341" y="100853"/>
                    </a:cubicBezTo>
                    <a:cubicBezTo>
                      <a:pt x="1196649" y="97896"/>
                      <a:pt x="1210269" y="96568"/>
                      <a:pt x="1223682" y="94129"/>
                    </a:cubicBezTo>
                    <a:cubicBezTo>
                      <a:pt x="1234926" y="92085"/>
                      <a:pt x="1246005" y="89143"/>
                      <a:pt x="1257300" y="87405"/>
                    </a:cubicBezTo>
                    <a:cubicBezTo>
                      <a:pt x="1275159" y="84658"/>
                      <a:pt x="1293265" y="83652"/>
                      <a:pt x="1311088" y="80682"/>
                    </a:cubicBezTo>
                    <a:cubicBezTo>
                      <a:pt x="1333633" y="76925"/>
                      <a:pt x="1356151" y="72779"/>
                      <a:pt x="1378324" y="67235"/>
                    </a:cubicBezTo>
                    <a:cubicBezTo>
                      <a:pt x="1387289" y="64994"/>
                      <a:pt x="1396126" y="62164"/>
                      <a:pt x="1405218" y="60511"/>
                    </a:cubicBezTo>
                    <a:cubicBezTo>
                      <a:pt x="1476339" y="47580"/>
                      <a:pt x="1427565" y="60076"/>
                      <a:pt x="1492624" y="47064"/>
                    </a:cubicBezTo>
                    <a:cubicBezTo>
                      <a:pt x="1501685" y="45252"/>
                      <a:pt x="1510370" y="41648"/>
                      <a:pt x="1519518" y="40341"/>
                    </a:cubicBezTo>
                    <a:cubicBezTo>
                      <a:pt x="1620813" y="25870"/>
                      <a:pt x="1798476" y="28453"/>
                      <a:pt x="1862418" y="26894"/>
                    </a:cubicBezTo>
                    <a:cubicBezTo>
                      <a:pt x="1961392" y="12754"/>
                      <a:pt x="1852447" y="27189"/>
                      <a:pt x="2003612" y="13447"/>
                    </a:cubicBezTo>
                    <a:cubicBezTo>
                      <a:pt x="2057474" y="8550"/>
                      <a:pt x="2042597" y="14124"/>
                      <a:pt x="2070847" y="0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866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2503"/>
    </mc:Choice>
    <mc:Fallback xmlns="">
      <p:transition spd="slow" advTm="122503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5D5F7F-BD8C-0048-AF41-B064B116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Materials and Metho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A33702-3E7C-3247-A079-969FE4A543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de-DE" sz="2200" kern="0" dirty="0">
                <a:solidFill>
                  <a:schemeClr val="bg2">
                    <a:lumMod val="10000"/>
                  </a:schemeClr>
                </a:solidFill>
                <a:latin typeface="Arial" charset="0"/>
              </a:rPr>
              <a:t>Analyzed parameters: </a:t>
            </a:r>
          </a:p>
          <a:p>
            <a:pPr marL="5778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de-DE" sz="2200" kern="0" dirty="0">
                <a:solidFill>
                  <a:schemeClr val="bg2">
                    <a:lumMod val="10000"/>
                  </a:schemeClr>
                </a:solidFill>
                <a:latin typeface="Arial" charset="0"/>
              </a:rPr>
              <a:t>Dry matter</a:t>
            </a:r>
          </a:p>
          <a:p>
            <a:pPr marL="5778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de-DE" sz="2200" kern="0" dirty="0">
                <a:solidFill>
                  <a:schemeClr val="bg2">
                    <a:lumMod val="10000"/>
                  </a:schemeClr>
                </a:solidFill>
                <a:latin typeface="Arial" charset="0"/>
              </a:rPr>
              <a:t>Loss on ignition </a:t>
            </a:r>
          </a:p>
          <a:p>
            <a:pPr marL="5778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de-DE" sz="2200" kern="0" dirty="0">
                <a:solidFill>
                  <a:schemeClr val="bg2">
                    <a:lumMod val="10000"/>
                  </a:schemeClr>
                </a:solidFill>
                <a:latin typeface="Arial" charset="0"/>
              </a:rPr>
              <a:t>C/N/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de-DE" sz="2200" kern="0" dirty="0">
                <a:solidFill>
                  <a:schemeClr val="bg2">
                    <a:lumMod val="10000"/>
                  </a:schemeClr>
                </a:solidFill>
                <a:latin typeface="Arial" charset="0"/>
                <a:sym typeface="Wingdings" pitchFamily="2" charset="2"/>
              </a:rPr>
              <a:t>Flushing with nitrogen  anaerobic environ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de-DE" sz="2200" kern="0" dirty="0">
                <a:solidFill>
                  <a:schemeClr val="bg2">
                    <a:lumMod val="10000"/>
                  </a:schemeClr>
                </a:solidFill>
                <a:latin typeface="Arial" charset="0"/>
                <a:sym typeface="Wingdings" pitchFamily="2" charset="2"/>
              </a:rPr>
              <a:t>Incubation under mesophilic conditions (37 °C ± 2 °C) [7]</a:t>
            </a:r>
            <a:endParaRPr lang="en-US" altLang="de-DE" sz="2200" kern="0" dirty="0">
              <a:solidFill>
                <a:schemeClr val="bg2">
                  <a:lumMod val="10000"/>
                </a:schemeClr>
              </a:solidFill>
              <a:latin typeface="Arial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de-DE" sz="2200" kern="0" dirty="0">
                <a:solidFill>
                  <a:schemeClr val="bg2">
                    <a:lumMod val="10000"/>
                  </a:schemeClr>
                </a:solidFill>
                <a:latin typeface="Arial" charset="0"/>
              </a:rPr>
              <a:t>OxiTop delivers one measurement every hour for two week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1964B-2E31-6A4F-9C0E-FF230A943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93D808-C0A2-7A46-8278-B3B8438EA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57100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9018"/>
    </mc:Choice>
    <mc:Fallback xmlns="">
      <p:transition spd="slow" advTm="39018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913788-A876-7244-A341-3F3AA538BC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Materials and Methods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7470026-B43E-634B-98BE-429389981A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4541" y="1268760"/>
            <a:ext cx="3731584" cy="2798688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808A1F-98A6-A049-99BD-95BA19846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25A843-2554-154D-BDB2-8D702257E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8</a:t>
            </a:fld>
            <a:endParaRPr lang="de-DE" altLang="de-D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3B1D784-9E02-6E4A-BDCA-BDC34EC6BA0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3" t="16401" r="10625" b="13250"/>
          <a:stretch/>
        </p:blipFill>
        <p:spPr>
          <a:xfrm>
            <a:off x="822325" y="3212976"/>
            <a:ext cx="4149595" cy="280831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3FD063D-F07D-9B49-93DE-0AFF591989D3}"/>
              </a:ext>
            </a:extLst>
          </p:cNvPr>
          <p:cNvSpPr txBox="1"/>
          <p:nvPr/>
        </p:nvSpPr>
        <p:spPr>
          <a:xfrm>
            <a:off x="1671981" y="1742797"/>
            <a:ext cx="2962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OxiTop Measuring Head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56E70B7-8B3C-354A-AE95-7E3FABD4327F}"/>
              </a:ext>
            </a:extLst>
          </p:cNvPr>
          <p:cNvCxnSpPr>
            <a:cxnSpLocks/>
          </p:cNvCxnSpPr>
          <p:nvPr/>
        </p:nvCxnSpPr>
        <p:spPr bwMode="auto">
          <a:xfrm>
            <a:off x="1763688" y="2132856"/>
            <a:ext cx="3744416" cy="0"/>
          </a:xfrm>
          <a:prstGeom prst="straightConnector1">
            <a:avLst/>
          </a:prstGeom>
          <a:solidFill>
            <a:schemeClr val="tx2"/>
          </a:solidFill>
          <a:ln w="30480" cap="flat" cmpd="sng" algn="ctr">
            <a:solidFill>
              <a:srgbClr val="27401F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0030BFEE-E54E-C544-B846-3D1DD97D70BB}"/>
              </a:ext>
            </a:extLst>
          </p:cNvPr>
          <p:cNvSpPr txBox="1"/>
          <p:nvPr/>
        </p:nvSpPr>
        <p:spPr>
          <a:xfrm>
            <a:off x="5365714" y="5100912"/>
            <a:ext cx="26225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OxiTop Controller</a:t>
            </a:r>
            <a:endParaRPr lang="en-US" sz="2000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8AD77090-8E21-514B-8FBE-D0C35149A3AB}"/>
              </a:ext>
            </a:extLst>
          </p:cNvPr>
          <p:cNvCxnSpPr>
            <a:cxnSpLocks/>
          </p:cNvCxnSpPr>
          <p:nvPr/>
        </p:nvCxnSpPr>
        <p:spPr bwMode="auto">
          <a:xfrm flipH="1">
            <a:off x="4716016" y="5427574"/>
            <a:ext cx="2554531" cy="42670"/>
          </a:xfrm>
          <a:prstGeom prst="straightConnector1">
            <a:avLst/>
          </a:prstGeom>
          <a:solidFill>
            <a:schemeClr val="tx2"/>
          </a:solidFill>
          <a:ln w="30480" cap="flat" cmpd="sng" algn="ctr">
            <a:solidFill>
              <a:srgbClr val="27401F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72093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041"/>
    </mc:Choice>
    <mc:Fallback xmlns="">
      <p:transition spd="slow" advTm="2904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F4B33-E5EA-8B4B-9AFE-8A9D74E17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Materials and Methods – Calc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66B8EA7-2E0A-D948-9E76-1C083A832802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sz="2200" b="1" dirty="0">
                    <a:solidFill>
                      <a:schemeClr val="bg2">
                        <a:lumMod val="10000"/>
                      </a:schemeClr>
                    </a:solidFill>
                  </a:rPr>
                  <a:t>Produced Biogas Volume:</a:t>
                </a:r>
              </a:p>
              <a:p>
                <a:pPr lvl="1"/>
                <a:r>
                  <a:rPr lang="en-US" sz="2200" dirty="0">
                    <a:solidFill>
                      <a:schemeClr val="bg2">
                        <a:lumMod val="10000"/>
                      </a:schemeClr>
                    </a:solidFill>
                  </a:rPr>
                  <a:t>Ideal Gas Law</a:t>
                </a:r>
              </a:p>
              <a:p>
                <a:pPr marL="200025" lvl="1" indent="0">
                  <a:lnSpc>
                    <a:spcPct val="100000"/>
                  </a:lnSpc>
                  <a:buNone/>
                </a:pPr>
                <a:r>
                  <a:rPr lang="en-US" sz="2200" dirty="0">
                    <a:solidFill>
                      <a:schemeClr val="bg2">
                        <a:lumMod val="10000"/>
                      </a:schemeClr>
                    </a:solidFill>
                  </a:rPr>
                  <a:t>	</a:t>
                </a:r>
                <a14:m>
                  <m:oMath xmlns:m="http://schemas.openxmlformats.org/officeDocument/2006/math"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𝑝</m:t>
                    </m:r>
                    <m:r>
                      <a:rPr lang="en-US" sz="2200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⋅</m:t>
                    </m:r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US" sz="2200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𝑁</m:t>
                    </m:r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⋅</m:t>
                    </m:r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𝑅</m:t>
                    </m:r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⋅</m:t>
                    </m:r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US" sz="2200" dirty="0">
                    <a:solidFill>
                      <a:schemeClr val="bg2">
                        <a:lumMod val="10000"/>
                      </a:schemeClr>
                    </a:solidFill>
                    <a:effectLst/>
                  </a:rPr>
                  <a:t> </a:t>
                </a:r>
                <a:r>
                  <a:rPr lang="en-US" sz="2200" dirty="0">
                    <a:solidFill>
                      <a:schemeClr val="bg2">
                        <a:lumMod val="10000"/>
                      </a:schemeClr>
                    </a:solidFill>
                  </a:rPr>
                  <a:t>                </a:t>
                </a:r>
                <a:r>
                  <a:rPr lang="en-US" sz="2200" dirty="0">
                    <a:solidFill>
                      <a:schemeClr val="bg2">
                        <a:lumMod val="10000"/>
                      </a:schemeClr>
                    </a:solidFill>
                    <a:effectLst/>
                  </a:rPr>
                  <a:t>Isothermal </a:t>
                </a:r>
                <a:r>
                  <a:rPr lang="en-US" sz="2200" dirty="0">
                    <a:solidFill>
                      <a:schemeClr val="bg2">
                        <a:lumMod val="10000"/>
                      </a:schemeClr>
                    </a:solidFill>
                    <a:effectLst/>
                    <a:sym typeface="Wingdings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𝑝</m:t>
                    </m:r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⋅</m:t>
                    </m:r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𝑐𝑜𝑛𝑠𝑡</m:t>
                    </m:r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lang="en-US" sz="2200" dirty="0">
                    <a:solidFill>
                      <a:schemeClr val="bg2">
                        <a:lumMod val="10000"/>
                      </a:schemeClr>
                    </a:solidFill>
                    <a:effectLst/>
                  </a:rPr>
                  <a:t> </a:t>
                </a:r>
              </a:p>
              <a:p>
                <a:pPr lvl="1"/>
                <a:r>
                  <a:rPr lang="en-US" sz="2200" dirty="0">
                    <a:solidFill>
                      <a:schemeClr val="bg2">
                        <a:lumMod val="10000"/>
                      </a:schemeClr>
                    </a:solidFill>
                  </a:rPr>
                  <a:t>Molar Volume</a:t>
                </a:r>
              </a:p>
              <a:p>
                <a:pPr marL="200025" lvl="1" indent="0">
                  <a:buNone/>
                </a:pPr>
                <a:r>
                  <a:rPr lang="en-US" sz="2200" dirty="0">
                    <a:solidFill>
                      <a:schemeClr val="bg2">
                        <a:lumMod val="10000"/>
                      </a:schemeClr>
                    </a:solidFill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200" i="1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200" i="1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sz="2200" i="1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2200" i="1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200" i="1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𝑉</m:t>
                        </m:r>
                      </m:num>
                      <m:den>
                        <m:r>
                          <a:rPr lang="en-US" sz="2200" i="1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den>
                    </m:f>
                    <m:r>
                      <a:rPr lang="en-US" sz="2200" i="1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2200" i="1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200" i="1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lang="en-US" sz="2200" i="1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⋅</m:t>
                        </m:r>
                        <m:r>
                          <a:rPr lang="en-US" sz="2200" i="1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𝑇</m:t>
                        </m:r>
                      </m:num>
                      <m:den>
                        <m:r>
                          <a:rPr lang="en-US" sz="2200" i="1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den>
                    </m:f>
                  </m:oMath>
                </a14:m>
                <a:endParaRPr lang="en-US" sz="2200" dirty="0">
                  <a:solidFill>
                    <a:schemeClr val="bg2">
                      <a:lumMod val="10000"/>
                    </a:schemeClr>
                  </a:solidFill>
                </a:endParaRPr>
              </a:p>
              <a:p>
                <a:pPr marL="200025" lvl="1" indent="0">
                  <a:buNone/>
                </a:pPr>
                <a:endParaRPr lang="en-US" sz="1000" dirty="0">
                  <a:solidFill>
                    <a:schemeClr val="bg2">
                      <a:lumMod val="10000"/>
                    </a:schemeClr>
                  </a:solidFill>
                </a:endParaRPr>
              </a:p>
              <a:p>
                <a:pPr marL="200025" lvl="1" indent="0"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200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200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sz="2200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𝐵𝑖𝑜𝑔𝑎𝑠</m:t>
                          </m:r>
                        </m:sub>
                      </m:sSub>
                      <m:r>
                        <a:rPr lang="en-US" sz="220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200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200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∆</m:t>
                          </m:r>
                          <m:r>
                            <a:rPr lang="en-US" sz="2200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  <m:r>
                            <a:rPr lang="en-US" sz="2200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⋅ </m:t>
                          </m:r>
                          <m:sSub>
                            <m:sSubPr>
                              <m:ctrlPr>
                                <a:rPr lang="en-US" sz="2200" i="1">
                                  <a:solidFill>
                                    <a:schemeClr val="bg2">
                                      <a:lumMod val="1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200" i="1">
                                  <a:solidFill>
                                    <a:schemeClr val="bg2">
                                      <a:lumMod val="1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sz="2200" i="1">
                                  <a:solidFill>
                                    <a:schemeClr val="bg2">
                                      <a:lumMod val="1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h𝑒𝑎𝑑</m:t>
                              </m:r>
                            </m:sub>
                          </m:sSub>
                          <m:r>
                            <a:rPr lang="en-US" sz="2200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⋅</m:t>
                          </m:r>
                          <m:sSub>
                            <m:sSubPr>
                              <m:ctrlPr>
                                <a:rPr lang="en-US" sz="2200" i="1">
                                  <a:solidFill>
                                    <a:schemeClr val="bg2">
                                      <a:lumMod val="1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200" i="1">
                                  <a:solidFill>
                                    <a:schemeClr val="bg2">
                                      <a:lumMod val="1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sz="2200" i="1">
                                  <a:solidFill>
                                    <a:schemeClr val="bg2">
                                      <a:lumMod val="1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num>
                        <m:den>
                          <m:r>
                            <a:rPr lang="en-US" sz="2200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 sz="2200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⋅</m:t>
                          </m:r>
                          <m:r>
                            <a:rPr lang="en-US" sz="2200" i="1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den>
                      </m:f>
                    </m:oMath>
                  </m:oMathPara>
                </a14:m>
                <a:endParaRPr lang="en-US" sz="2200" dirty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66B8EA7-2E0A-D948-9E76-1C083A832802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008" t="-157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70C48B-1760-414D-A477-18EDE73A6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1E6760-4DE3-714B-B84A-FF60E0743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03AB34-CF9C-B347-9D90-D4436DA5886A}" type="slidenum">
              <a:rPr lang="de-DE" altLang="de-DE" smtClean="0"/>
              <a:pPr>
                <a:defRPr/>
              </a:pPr>
              <a:t>9</a:t>
            </a:fld>
            <a:endParaRPr lang="de-DE" altLang="de-DE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2E81855-94A3-7C49-AAE2-8AC910E27D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3896941"/>
              </p:ext>
            </p:extLst>
          </p:nvPr>
        </p:nvGraphicFramePr>
        <p:xfrm>
          <a:off x="4940300" y="4529499"/>
          <a:ext cx="6096000" cy="1737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9645">
                  <a:extLst>
                    <a:ext uri="{9D8B030D-6E8A-4147-A177-3AD203B41FA5}">
                      <a16:colId xmlns:a16="http://schemas.microsoft.com/office/drawing/2014/main" val="1144665590"/>
                    </a:ext>
                  </a:extLst>
                </a:gridCol>
                <a:gridCol w="5276355">
                  <a:extLst>
                    <a:ext uri="{9D8B030D-6E8A-4147-A177-3AD203B41FA5}">
                      <a16:colId xmlns:a16="http://schemas.microsoft.com/office/drawing/2014/main" val="267416028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0" dirty="0" err="1">
                          <a:solidFill>
                            <a:srgbClr val="27401F"/>
                          </a:solidFill>
                        </a:rPr>
                        <a:t>V</a:t>
                      </a:r>
                      <a:r>
                        <a:rPr lang="en-US" b="0" baseline="-25000" dirty="0" err="1">
                          <a:solidFill>
                            <a:srgbClr val="27401F"/>
                          </a:solidFill>
                        </a:rPr>
                        <a:t>Biogas</a:t>
                      </a:r>
                      <a:endParaRPr lang="en-US" b="0" baseline="-25000" dirty="0">
                        <a:solidFill>
                          <a:srgbClr val="27401F"/>
                        </a:solidFill>
                      </a:endParaRPr>
                    </a:p>
                    <a:p>
                      <a:r>
                        <a:rPr lang="en-US" sz="1800" b="0" dirty="0" err="1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Δp</a:t>
                      </a:r>
                      <a:endParaRPr lang="en-US" sz="1800" b="0" dirty="0">
                        <a:solidFill>
                          <a:srgbClr val="27401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US" sz="1800" b="0" dirty="0" err="1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en-US" sz="1800" b="0" baseline="-25000" dirty="0" err="1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</a:t>
                      </a:r>
                      <a:endParaRPr lang="en-US" sz="1800" b="0" dirty="0">
                        <a:solidFill>
                          <a:srgbClr val="27401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US" sz="1800" b="0" dirty="0" err="1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en-US" sz="1800" b="0" baseline="-25000" dirty="0" err="1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  <a:endParaRPr lang="en-US" sz="1800" b="0" baseline="-25000" dirty="0">
                        <a:solidFill>
                          <a:srgbClr val="27401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US" sz="1800" b="0" dirty="0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</a:t>
                      </a:r>
                    </a:p>
                    <a:p>
                      <a:r>
                        <a:rPr lang="en-US" sz="1800" b="0" baseline="0" dirty="0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</a:t>
                      </a:r>
                      <a:endParaRPr lang="en-US" b="0" baseline="0" dirty="0">
                        <a:solidFill>
                          <a:srgbClr val="27401F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iogas volume</a:t>
                      </a:r>
                    </a:p>
                    <a:p>
                      <a:r>
                        <a:rPr lang="en-US" sz="1800" b="0" dirty="0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bsolute pressure difference</a:t>
                      </a:r>
                    </a:p>
                    <a:p>
                      <a:r>
                        <a:rPr lang="en-US" sz="1800" b="0" dirty="0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ume of the head space</a:t>
                      </a:r>
                    </a:p>
                    <a:p>
                      <a:r>
                        <a:rPr lang="en-US" sz="1800" b="0" dirty="0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lar volume</a:t>
                      </a:r>
                    </a:p>
                    <a:p>
                      <a:r>
                        <a:rPr lang="en-US" sz="1800" b="0" dirty="0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iversal gas constant</a:t>
                      </a:r>
                    </a:p>
                    <a:p>
                      <a:r>
                        <a:rPr lang="en-US" sz="1800" b="0" dirty="0">
                          <a:solidFill>
                            <a:srgbClr val="27401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bsolute temperature</a:t>
                      </a:r>
                    </a:p>
                  </a:txBody>
                  <a:tcPr>
                    <a:lnL w="12700" cmpd="sng">
                      <a:noFill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0363136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6450AAEE-BCBD-7B4F-8734-60DAB96414FF}"/>
              </a:ext>
            </a:extLst>
          </p:cNvPr>
          <p:cNvSpPr/>
          <p:nvPr/>
        </p:nvSpPr>
        <p:spPr>
          <a:xfrm>
            <a:off x="2881130" y="3573016"/>
            <a:ext cx="3240360" cy="864096"/>
          </a:xfrm>
          <a:prstGeom prst="rect">
            <a:avLst/>
          </a:prstGeom>
          <a:noFill/>
          <a:ln>
            <a:solidFill>
              <a:srgbClr val="2740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12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675"/>
    </mc:Choice>
    <mc:Fallback xmlns="">
      <p:transition spd="slow" advTm="62675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heme/theme1.xml><?xml version="1.0" encoding="utf-8"?>
<a:theme xmlns:a="http://schemas.openxmlformats.org/drawingml/2006/main" name="Retrospect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38135"/>
      </a:accent1>
      <a:accent2>
        <a:srgbClr val="375623"/>
      </a:accent2>
      <a:accent3>
        <a:srgbClr val="FFC000"/>
      </a:accent3>
      <a:accent4>
        <a:srgbClr val="538135"/>
      </a:accent4>
      <a:accent5>
        <a:srgbClr val="29401A"/>
      </a:accent5>
      <a:accent6>
        <a:srgbClr val="034A90"/>
      </a:accent6>
      <a:hlink>
        <a:srgbClr val="0563C1"/>
      </a:hlink>
      <a:folHlink>
        <a:srgbClr val="954F7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4392</TotalTime>
  <Words>1144</Words>
  <Application>Microsoft Macintosh PowerPoint</Application>
  <PresentationFormat>On-screen Show (4:3)</PresentationFormat>
  <Paragraphs>362</Paragraphs>
  <Slides>2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rial</vt:lpstr>
      <vt:lpstr>Calibri</vt:lpstr>
      <vt:lpstr>Calibri Light</vt:lpstr>
      <vt:lpstr>Cambria Math</vt:lpstr>
      <vt:lpstr>Times New Roman</vt:lpstr>
      <vt:lpstr>Wingdings</vt:lpstr>
      <vt:lpstr>Retrospect</vt:lpstr>
      <vt:lpstr>Biogas Potential of the Inocula Sewage Sludge, Cow Manure, and Fermentation Residues  – Investigation of Varying Pre-Treatment and Process Options</vt:lpstr>
      <vt:lpstr>Outline</vt:lpstr>
      <vt:lpstr>Introduction</vt:lpstr>
      <vt:lpstr>Introduction – Inocula</vt:lpstr>
      <vt:lpstr>Objectives</vt:lpstr>
      <vt:lpstr>Hypotheses</vt:lpstr>
      <vt:lpstr>Materials and Methods</vt:lpstr>
      <vt:lpstr>Materials and Methods</vt:lpstr>
      <vt:lpstr>Materials and Methods – Calculation</vt:lpstr>
      <vt:lpstr>Results – Fresh Sewage Sludge</vt:lpstr>
      <vt:lpstr>Results – Stored Sewage Sludge</vt:lpstr>
      <vt:lpstr>Results – Fresh Vs. Stored Sewage Sludge</vt:lpstr>
      <vt:lpstr>Results – Unscreened Cow Manure</vt:lpstr>
      <vt:lpstr>Results – Screened Cow Manure</vt:lpstr>
      <vt:lpstr>Results – Unscreened Vs. Screened Cow Manure</vt:lpstr>
      <vt:lpstr>Results – Stirred Fermentation Residues</vt:lpstr>
      <vt:lpstr>Results – Unstirred Fermentation Residues</vt:lpstr>
      <vt:lpstr>Results – Stirred Vs. Unstirred Fermentation Residues</vt:lpstr>
      <vt:lpstr>Results – Hypotheses Confirmed?</vt:lpstr>
      <vt:lpstr>Results – NL/kg oTS</vt:lpstr>
      <vt:lpstr>Time Schedule</vt:lpstr>
      <vt:lpstr>Sources</vt:lpstr>
      <vt:lpstr>Sources</vt:lpstr>
      <vt:lpstr>PowerPoint Presentation</vt:lpstr>
      <vt:lpstr>Additional Slides</vt:lpstr>
      <vt:lpstr>Thesis Structure</vt:lpstr>
      <vt:lpstr>Results – Overall Comparison</vt:lpstr>
      <vt:lpstr>Results – Norm Liters</vt:lpstr>
      <vt:lpstr>Results – Norm Liters</vt:lpstr>
    </vt:vector>
  </TitlesOfParts>
  <Company/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Default User</dc:creator>
  <cp:lastModifiedBy>Microsoft Office User</cp:lastModifiedBy>
  <cp:revision>485</cp:revision>
  <dcterms:created xsi:type="dcterms:W3CDTF">2013-01-25T10:15:56Z</dcterms:created>
  <dcterms:modified xsi:type="dcterms:W3CDTF">2018-07-19T20:17:43Z</dcterms:modified>
</cp:coreProperties>
</file>